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84" r:id="rId2"/>
    <p:sldId id="8842" r:id="rId3"/>
    <p:sldId id="8794" r:id="rId4"/>
    <p:sldId id="8795" r:id="rId5"/>
    <p:sldId id="8844" r:id="rId6"/>
    <p:sldId id="8845" r:id="rId7"/>
    <p:sldId id="8846" r:id="rId8"/>
    <p:sldId id="8857" r:id="rId9"/>
    <p:sldId id="8858" r:id="rId10"/>
    <p:sldId id="8859" r:id="rId11"/>
    <p:sldId id="8856" r:id="rId12"/>
    <p:sldId id="8847" r:id="rId13"/>
    <p:sldId id="8848" r:id="rId14"/>
    <p:sldId id="8849" r:id="rId15"/>
    <p:sldId id="8850" r:id="rId16"/>
    <p:sldId id="8851" r:id="rId17"/>
    <p:sldId id="8855" r:id="rId18"/>
    <p:sldId id="8852" r:id="rId19"/>
    <p:sldId id="8853" r:id="rId20"/>
    <p:sldId id="8854" r:id="rId21"/>
    <p:sldId id="8837" r:id="rId22"/>
  </p:sldIdLst>
  <p:sldSz cx="9144000" cy="5148263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0">
          <p15:clr>
            <a:srgbClr val="A4A3A4"/>
          </p15:clr>
        </p15:guide>
        <p15:guide id="2" pos="28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, Yuan" initials="JY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96959"/>
    <a:srgbClr val="5D5F65"/>
    <a:srgbClr val="F0F0F0"/>
    <a:srgbClr val="D06F54"/>
    <a:srgbClr val="CB5E42"/>
    <a:srgbClr val="FF5050"/>
    <a:srgbClr val="FFFFFF"/>
    <a:srgbClr val="0067B4"/>
    <a:srgbClr val="F76D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24" autoAdjust="0"/>
    <p:restoredTop sz="86842" autoAdjust="0"/>
  </p:normalViewPr>
  <p:slideViewPr>
    <p:cSldViewPr snapToGrid="0" showGuides="1">
      <p:cViewPr varScale="1">
        <p:scale>
          <a:sx n="89" d="100"/>
          <a:sy n="89" d="100"/>
        </p:scale>
        <p:origin x="784" y="108"/>
      </p:cViewPr>
      <p:guideLst>
        <p:guide orient="horz" pos="1610"/>
        <p:guide pos="282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280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1D98C-2E0B-471B-8EC7-716D47B76993}" type="datetimeFigureOut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3/2/13</a:t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433641-2F54-45DF-95F9-90BE65D058C5}" type="slidenum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FC4834-D93F-41D9-B11D-488C25928D9C}" type="datetimeFigureOut">
              <a:rPr lang="de-DE" smtClean="0"/>
              <a:t>13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39A6FC-E627-4A9D-8B8B-1C62E384257C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b="0" noProof="0" dirty="0"/>
              <a:t>Chart layout</a:t>
            </a:r>
            <a:r>
              <a:rPr lang="en-US" b="0" baseline="0" noProof="0" dirty="0"/>
              <a:t> </a:t>
            </a:r>
            <a:r>
              <a:rPr lang="en-US" b="0" noProof="0" dirty="0"/>
              <a:t>»Chapter chart«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t>21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and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87264" y="187263"/>
            <a:ext cx="8784554" cy="4773737"/>
          </a:xfrm>
          <a:custGeom>
            <a:avLst/>
            <a:gdLst/>
            <a:ahLst/>
            <a:cxnLst/>
            <a:rect l="l" t="t" r="r" b="b"/>
            <a:pathLst>
              <a:path w="8784554" h="4773737">
                <a:moveTo>
                  <a:pt x="0" y="0"/>
                </a:moveTo>
                <a:lnTo>
                  <a:pt x="6873936" y="0"/>
                </a:lnTo>
                <a:lnTo>
                  <a:pt x="6873936" y="1193481"/>
                </a:lnTo>
                <a:lnTo>
                  <a:pt x="8784554" y="1193481"/>
                </a:lnTo>
                <a:lnTo>
                  <a:pt x="8784554" y="4773737"/>
                </a:lnTo>
                <a:lnTo>
                  <a:pt x="0" y="4773737"/>
                </a:ln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noAutofit/>
          </a:bodyPr>
          <a:lstStyle/>
          <a:p>
            <a:pPr algn="ctr"/>
            <a:endParaRPr lang="de-DE" sz="1400" dirty="0" err="1">
              <a:latin typeface="Arial" panose="020B0604020202020204" pitchFamily="34" charset="0"/>
            </a:endParaRPr>
          </a:p>
        </p:txBody>
      </p:sp>
      <p:sp>
        <p:nvSpPr>
          <p:cNvPr id="15" name="AutoShape 3"/>
          <p:cNvSpPr>
            <a:spLocks noChangeAspect="1" noChangeArrowheads="1" noTextEdit="1"/>
          </p:cNvSpPr>
          <p:nvPr userDrawn="1"/>
        </p:nvSpPr>
        <p:spPr bwMode="auto">
          <a:xfrm>
            <a:off x="4276800" y="1520374"/>
            <a:ext cx="4530126" cy="3012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de-DE" dirty="0">
              <a:latin typeface="微软雅黑" panose="020B0503020204020204" pitchFamily="34" charset="-122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72984" y="187263"/>
            <a:ext cx="1801352" cy="108172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top and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4716020" y="2952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image / content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60367" y="2952000"/>
            <a:ext cx="4067175" cy="16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360004" y="1224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elow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2545086"/>
            <a:ext cx="4067999" cy="20269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6"/>
          </p:nvPr>
        </p:nvSpPr>
        <p:spPr>
          <a:xfrm>
            <a:off x="360004" y="1224000"/>
            <a:ext cx="842401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360004" y="2545086"/>
            <a:ext cx="4067999" cy="20269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image above + content be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360004" y="2950413"/>
            <a:ext cx="842113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8424000" cy="159733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subhead. / 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37" name="Rectangle 6"/>
          <p:cNvSpPr txBox="1">
            <a:spLocks noChangeArrowheads="1"/>
          </p:cNvSpPr>
          <p:nvPr userDrawn="1"/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defPPr>
              <a:defRPr lang="de-DE"/>
            </a:defPPr>
            <a:lvl1pPr marL="0" algn="l" defTabSz="841375" rtl="0" eaLnBrk="1" latinLnBrk="0" hangingPunct="1">
              <a:spcBef>
                <a:spcPct val="0"/>
              </a:spcBef>
              <a:defRPr sz="7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22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51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80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8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CC5461-F7F8-834A-A33C-7913089D93E6}" type="slidenum">
              <a:rPr lang="en-GB" smtClean="0">
                <a:solidFill>
                  <a:schemeClr val="tx1"/>
                </a:solidFill>
              </a:rPr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GB">
                <a:latin typeface="Arial" panose="020B0604020202020204" pitchFamily="34" charset="0"/>
              </a:rPr>
              <a:t>Title of presentation | first name last name | date</a:t>
            </a:r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1044000"/>
            <a:ext cx="9144000" cy="4104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pic>
        <p:nvPicPr>
          <p:cNvPr id="12" name="Grafik 6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07530" y="227066"/>
            <a:ext cx="1182607" cy="71016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ellenplatzhalter 2"/>
          <p:cNvSpPr>
            <a:spLocks noGrp="1"/>
          </p:cNvSpPr>
          <p:nvPr>
            <p:ph type="tbl" idx="1" hasCustomPrompt="1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表格</a:t>
            </a:r>
            <a:endParaRPr lang="de-DE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>
          <a:xfrm>
            <a:off x="360000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de-DE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>
          <a:xfrm>
            <a:off x="360000" y="1224000"/>
            <a:ext cx="8424000" cy="162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de-DE" noProof="0" dirty="0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3" hasCustomPrompt="1"/>
          </p:nvPr>
        </p:nvSpPr>
        <p:spPr>
          <a:xfrm>
            <a:off x="360000" y="2952000"/>
            <a:ext cx="8424000" cy="162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de-DE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0"/>
          </p:nvPr>
        </p:nvSpPr>
        <p:spPr>
          <a:xfrm>
            <a:off x="187263" y="187263"/>
            <a:ext cx="8784555" cy="4773737"/>
          </a:xfrm>
          <a:custGeom>
            <a:avLst/>
            <a:gdLst/>
            <a:ahLst/>
            <a:cxnLst/>
            <a:rect l="l" t="t" r="r" b="b"/>
            <a:pathLst>
              <a:path w="8784555" h="4773737">
                <a:moveTo>
                  <a:pt x="0" y="0"/>
                </a:moveTo>
                <a:lnTo>
                  <a:pt x="6873887" y="0"/>
                </a:lnTo>
                <a:lnTo>
                  <a:pt x="6873887" y="1189727"/>
                </a:lnTo>
                <a:lnTo>
                  <a:pt x="8784555" y="1189727"/>
                </a:lnTo>
                <a:lnTo>
                  <a:pt x="8784555" y="4773737"/>
                </a:lnTo>
                <a:lnTo>
                  <a:pt x="0" y="4773737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 b="0"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96" name="Titel 1"/>
          <p:cNvSpPr>
            <a:spLocks noGrp="1"/>
          </p:cNvSpPr>
          <p:nvPr>
            <p:ph type="title"/>
          </p:nvPr>
        </p:nvSpPr>
        <p:spPr>
          <a:xfrm>
            <a:off x="1588" y="3276000"/>
            <a:ext cx="9142412" cy="1260000"/>
          </a:xfrm>
          <a:gradFill>
            <a:gsLst>
              <a:gs pos="0">
                <a:schemeClr val="bg1"/>
              </a:gs>
              <a:gs pos="25000">
                <a:schemeClr val="bg1">
                  <a:alpha val="80000"/>
                </a:schemeClr>
              </a:gs>
              <a:gs pos="100000">
                <a:schemeClr val="bg1"/>
              </a:gs>
              <a:gs pos="60000">
                <a:schemeClr val="bg1">
                  <a:alpha val="65000"/>
                </a:schemeClr>
              </a:gs>
            </a:gsLst>
            <a:lin ang="0" scaled="1"/>
          </a:gradFill>
        </p:spPr>
        <p:txBody>
          <a:bodyPr lIns="720000" rIns="720000" bIns="432000"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de-DE" dirty="0"/>
          </a:p>
        </p:txBody>
      </p:sp>
      <p:sp>
        <p:nvSpPr>
          <p:cNvPr id="98" name="Textplatzhalter 2"/>
          <p:cNvSpPr>
            <a:spLocks noGrp="1"/>
          </p:cNvSpPr>
          <p:nvPr>
            <p:ph type="body" idx="1"/>
          </p:nvPr>
        </p:nvSpPr>
        <p:spPr>
          <a:xfrm>
            <a:off x="720000" y="4140000"/>
            <a:ext cx="8063638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accent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21"/>
          </p:nvPr>
        </p:nvSpPr>
        <p:spPr>
          <a:xfrm>
            <a:off x="360002" y="3316123"/>
            <a:ext cx="842363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8777" y="1224002"/>
            <a:ext cx="8423639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7" y="2991469"/>
            <a:ext cx="8423639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9"/>
          </p:nvPr>
        </p:nvSpPr>
        <p:spPr>
          <a:xfrm>
            <a:off x="360002" y="1548000"/>
            <a:ext cx="842363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4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type="body" idx="1"/>
          </p:nvPr>
        </p:nvSpPr>
        <p:spPr>
          <a:xfrm>
            <a:off x="358779" y="1224002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5"/>
          </p:nvPr>
        </p:nvSpPr>
        <p:spPr>
          <a:xfrm>
            <a:off x="4716020" y="1224002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9" y="2988000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7"/>
          </p:nvPr>
        </p:nvSpPr>
        <p:spPr>
          <a:xfrm>
            <a:off x="4716020" y="2988000"/>
            <a:ext cx="4068763" cy="252000"/>
          </a:xfrm>
          <a:prstGeom prst="rect">
            <a:avLst/>
          </a:prstGeom>
          <a:solidFill>
            <a:srgbClr val="A00020"/>
          </a:solidFill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9"/>
          </p:nvPr>
        </p:nvSpPr>
        <p:spPr>
          <a:xfrm>
            <a:off x="360004" y="1548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20"/>
          </p:nvPr>
        </p:nvSpPr>
        <p:spPr>
          <a:xfrm>
            <a:off x="4716020" y="1548000"/>
            <a:ext cx="4067999" cy="126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21"/>
          </p:nvPr>
        </p:nvSpPr>
        <p:spPr>
          <a:xfrm>
            <a:off x="358779" y="3312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quarter" idx="22"/>
          </p:nvPr>
        </p:nvSpPr>
        <p:spPr>
          <a:xfrm>
            <a:off x="4714795" y="3312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8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2 images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4176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/>
          </p:nvPr>
        </p:nvSpPr>
        <p:spPr>
          <a:xfrm>
            <a:off x="4608001" y="1224000"/>
            <a:ext cx="4176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图标添加图片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GB">
                <a:latin typeface="Arial" panose="020B0604020202020204" pitchFamily="34" charset="0"/>
              </a:rPr>
              <a:t>Title of presentation | first name last name | dat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organization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Art-Platzhalter 2"/>
          <p:cNvSpPr>
            <a:spLocks noGrp="1"/>
          </p:cNvSpPr>
          <p:nvPr>
            <p:ph type="pic" idx="1" hasCustomPrompt="1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 </a:t>
            </a:r>
            <a:r>
              <a:rPr lang="en-US" altLang="zh-CN" noProof="0" dirty="0"/>
              <a:t>SmartArt </a:t>
            </a:r>
            <a:r>
              <a:rPr lang="zh-CN" altLang="en-US" noProof="0" dirty="0"/>
              <a:t>图形</a:t>
            </a:r>
            <a:endParaRPr lang="de-DE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rt and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187264" y="187263"/>
            <a:ext cx="8784554" cy="4773737"/>
          </a:xfrm>
          <a:custGeom>
            <a:avLst/>
            <a:gdLst/>
            <a:ahLst/>
            <a:cxnLst/>
            <a:rect l="l" t="t" r="r" b="b"/>
            <a:pathLst>
              <a:path w="8784554" h="4773737">
                <a:moveTo>
                  <a:pt x="0" y="0"/>
                </a:moveTo>
                <a:lnTo>
                  <a:pt x="6873936" y="0"/>
                </a:lnTo>
                <a:lnTo>
                  <a:pt x="6873936" y="1193481"/>
                </a:lnTo>
                <a:lnTo>
                  <a:pt x="8784554" y="1193481"/>
                </a:lnTo>
                <a:lnTo>
                  <a:pt x="8784554" y="4773737"/>
                </a:lnTo>
                <a:lnTo>
                  <a:pt x="0" y="4773737"/>
                </a:ln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noAutofit/>
          </a:bodyPr>
          <a:lstStyle/>
          <a:p>
            <a:pPr algn="ctr"/>
            <a:endParaRPr lang="de-DE" sz="1400" dirty="0" err="1">
              <a:latin typeface="Arial" panose="020B0604020202020204" pitchFamily="34" charset="0"/>
            </a:endParaRPr>
          </a:p>
        </p:txBody>
      </p:sp>
      <p:sp>
        <p:nvSpPr>
          <p:cNvPr id="15" name="AutoShape 3"/>
          <p:cNvSpPr>
            <a:spLocks noChangeAspect="1" noChangeArrowheads="1" noTextEdit="1"/>
          </p:cNvSpPr>
          <p:nvPr userDrawn="1"/>
        </p:nvSpPr>
        <p:spPr bwMode="auto">
          <a:xfrm>
            <a:off x="4276800" y="1520374"/>
            <a:ext cx="4530126" cy="3012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de-DE" dirty="0">
              <a:latin typeface="微软雅黑" panose="020B0503020204020204" pitchFamily="34" charset="-122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172326" y="187263"/>
            <a:ext cx="1802668" cy="108172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rt / 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7"/>
          <p:cNvSpPr>
            <a:spLocks noGrp="1"/>
          </p:cNvSpPr>
          <p:nvPr>
            <p:ph type="pic" sz="quarter" idx="10"/>
          </p:nvPr>
        </p:nvSpPr>
        <p:spPr>
          <a:xfrm>
            <a:off x="187263" y="187263"/>
            <a:ext cx="8784555" cy="4773737"/>
          </a:xfrm>
          <a:custGeom>
            <a:avLst/>
            <a:gdLst/>
            <a:ahLst/>
            <a:cxnLst/>
            <a:rect l="l" t="t" r="r" b="b"/>
            <a:pathLst>
              <a:path w="8784555" h="4773737">
                <a:moveTo>
                  <a:pt x="0" y="0"/>
                </a:moveTo>
                <a:lnTo>
                  <a:pt x="6873887" y="0"/>
                </a:lnTo>
                <a:lnTo>
                  <a:pt x="6873887" y="1189727"/>
                </a:lnTo>
                <a:lnTo>
                  <a:pt x="8784555" y="1189727"/>
                </a:lnTo>
                <a:lnTo>
                  <a:pt x="8784555" y="4773737"/>
                </a:lnTo>
                <a:lnTo>
                  <a:pt x="0" y="4773737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 b="0"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172326" y="187263"/>
            <a:ext cx="1802668" cy="1081728"/>
          </a:xfrm>
          <a:prstGeom prst="rect">
            <a:avLst/>
          </a:prstGeom>
        </p:spPr>
      </p:pic>
      <p:sp>
        <p:nvSpPr>
          <p:cNvPr id="96" name="Titel 1"/>
          <p:cNvSpPr>
            <a:spLocks noGrp="1"/>
          </p:cNvSpPr>
          <p:nvPr>
            <p:ph type="title"/>
          </p:nvPr>
        </p:nvSpPr>
        <p:spPr>
          <a:xfrm>
            <a:off x="1588" y="3276000"/>
            <a:ext cx="9142412" cy="1260000"/>
          </a:xfrm>
          <a:gradFill>
            <a:gsLst>
              <a:gs pos="0">
                <a:schemeClr val="bg1"/>
              </a:gs>
              <a:gs pos="25000">
                <a:schemeClr val="bg1">
                  <a:alpha val="80000"/>
                </a:schemeClr>
              </a:gs>
              <a:gs pos="100000">
                <a:schemeClr val="bg1"/>
              </a:gs>
              <a:gs pos="60000">
                <a:schemeClr val="bg1">
                  <a:alpha val="65000"/>
                </a:schemeClr>
              </a:gs>
            </a:gsLst>
            <a:lin ang="0" scaled="1"/>
          </a:gradFill>
        </p:spPr>
        <p:txBody>
          <a:bodyPr lIns="720000" rIns="720000" bIns="432000"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  <p:sp>
        <p:nvSpPr>
          <p:cNvPr id="98" name="Textplatzhalter 2"/>
          <p:cNvSpPr>
            <a:spLocks noGrp="1"/>
          </p:cNvSpPr>
          <p:nvPr>
            <p:ph type="body" idx="1"/>
          </p:nvPr>
        </p:nvSpPr>
        <p:spPr>
          <a:xfrm>
            <a:off x="720000" y="4140000"/>
            <a:ext cx="8063638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accent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Line 351"/>
          <p:cNvSpPr>
            <a:spLocks noChangeShapeType="1"/>
          </p:cNvSpPr>
          <p:nvPr userDrawn="1"/>
        </p:nvSpPr>
        <p:spPr bwMode="gray">
          <a:xfrm>
            <a:off x="360000" y="4752000"/>
            <a:ext cx="8424000" cy="0"/>
          </a:xfrm>
          <a:prstGeom prst="line">
            <a:avLst/>
          </a:prstGeom>
          <a:noFill/>
          <a:ln w="12700" cmpd="sng">
            <a:solidFill>
              <a:schemeClr val="accent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en-US" sz="1800" noProof="0" dirty="0">
              <a:latin typeface="Arial" panose="020B0604020202020204"/>
            </a:endParaRP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720000" y="2669584"/>
            <a:ext cx="7704000" cy="1080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idx="1"/>
          </p:nvPr>
        </p:nvSpPr>
        <p:spPr>
          <a:xfrm>
            <a:off x="720000" y="3785584"/>
            <a:ext cx="7704000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5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762875" y="269470"/>
            <a:ext cx="1020763" cy="6125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ultiline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60000" y="1219200"/>
            <a:ext cx="8424001" cy="3351213"/>
          </a:xfrm>
        </p:spPr>
        <p:txBody>
          <a:bodyPr/>
          <a:lstStyle>
            <a:lvl1pPr>
              <a:defRPr>
                <a:ea typeface="微软雅黑" panose="020B0503020204020204" pitchFamily="34" charset="-122"/>
              </a:defRPr>
            </a:lvl1pPr>
            <a:lvl2pPr>
              <a:defRPr>
                <a:ea typeface="微软雅黑" panose="020B0503020204020204" pitchFamily="34" charset="-122"/>
              </a:defRPr>
            </a:lvl2pPr>
            <a:lvl3pPr>
              <a:defRPr>
                <a:ea typeface="微软雅黑" panose="020B0503020204020204" pitchFamily="34" charset="-122"/>
              </a:defRPr>
            </a:lvl3pPr>
            <a:lvl4pPr>
              <a:defRPr>
                <a:ea typeface="微软雅黑" panose="020B0503020204020204" pitchFamily="34" charset="-122"/>
              </a:defRPr>
            </a:lvl4pPr>
            <a:lvl5pPr>
              <a:defRPr baseline="0">
                <a:ea typeface="微软雅黑" panose="020B0503020204020204" pitchFamily="34" charset="-122"/>
              </a:defRPr>
            </a:lvl5pPr>
            <a:lvl6pPr marL="568960" indent="-1905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/>
            </a:lvl6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200"/>
            <a:ext cx="6842812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 algn="l" defTabSz="653415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Line 351"/>
          <p:cNvSpPr>
            <a:spLocks noChangeShapeType="1"/>
          </p:cNvSpPr>
          <p:nvPr userDrawn="1"/>
        </p:nvSpPr>
        <p:spPr bwMode="gray">
          <a:xfrm>
            <a:off x="360000" y="4752000"/>
            <a:ext cx="8424000" cy="0"/>
          </a:xfrm>
          <a:prstGeom prst="line">
            <a:avLst/>
          </a:prstGeom>
          <a:noFill/>
          <a:ln w="12700" cmpd="sng">
            <a:solidFill>
              <a:schemeClr val="accent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de-DE" sz="1800" dirty="0">
              <a:latin typeface="Arial" panose="020B0604020202020204"/>
            </a:endParaRP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720000" y="2669584"/>
            <a:ext cx="7704000" cy="1080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idx="1"/>
          </p:nvPr>
        </p:nvSpPr>
        <p:spPr>
          <a:xfrm>
            <a:off x="720000" y="3785584"/>
            <a:ext cx="7704000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7289408" y="263226"/>
            <a:ext cx="1632948" cy="847448"/>
            <a:chOff x="4874" y="291"/>
            <a:chExt cx="659" cy="342"/>
          </a:xfrm>
        </p:grpSpPr>
        <p:sp>
          <p:nvSpPr>
            <p:cNvPr id="2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74" y="291"/>
              <a:ext cx="659" cy="342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4" name="Freeform 5"/>
            <p:cNvSpPr/>
            <p:nvPr userDrawn="1"/>
          </p:nvSpPr>
          <p:spPr bwMode="auto">
            <a:xfrm>
              <a:off x="4874" y="291"/>
              <a:ext cx="660" cy="343"/>
            </a:xfrm>
            <a:custGeom>
              <a:avLst/>
              <a:gdLst>
                <a:gd name="T0" fmla="*/ 4048 w 8097"/>
                <a:gd name="T1" fmla="*/ 0 h 4204"/>
                <a:gd name="T2" fmla="*/ 4048 w 8097"/>
                <a:gd name="T3" fmla="*/ 0 h 4204"/>
                <a:gd name="T4" fmla="*/ 2040 w 8097"/>
                <a:gd name="T5" fmla="*/ 276 h 4204"/>
                <a:gd name="T6" fmla="*/ 3708 w 8097"/>
                <a:gd name="T7" fmla="*/ 70 h 4204"/>
                <a:gd name="T8" fmla="*/ 7413 w 8097"/>
                <a:gd name="T9" fmla="*/ 1993 h 4204"/>
                <a:gd name="T10" fmla="*/ 3708 w 8097"/>
                <a:gd name="T11" fmla="*/ 3916 h 4204"/>
                <a:gd name="T12" fmla="*/ 4 w 8097"/>
                <a:gd name="T13" fmla="*/ 1996 h 4204"/>
                <a:gd name="T14" fmla="*/ 0 w 8097"/>
                <a:gd name="T15" fmla="*/ 2101 h 4204"/>
                <a:gd name="T16" fmla="*/ 4048 w 8097"/>
                <a:gd name="T17" fmla="*/ 4204 h 4204"/>
                <a:gd name="T18" fmla="*/ 8097 w 8097"/>
                <a:gd name="T19" fmla="*/ 2101 h 4204"/>
                <a:gd name="T20" fmla="*/ 4048 w 8097"/>
                <a:gd name="T21" fmla="*/ 0 h 4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97" h="4204">
                  <a:moveTo>
                    <a:pt x="4048" y="0"/>
                  </a:moveTo>
                  <a:lnTo>
                    <a:pt x="4048" y="0"/>
                  </a:lnTo>
                  <a:cubicBezTo>
                    <a:pt x="3317" y="0"/>
                    <a:pt x="2632" y="100"/>
                    <a:pt x="2040" y="276"/>
                  </a:cubicBezTo>
                  <a:cubicBezTo>
                    <a:pt x="2542" y="145"/>
                    <a:pt x="3108" y="70"/>
                    <a:pt x="3708" y="70"/>
                  </a:cubicBezTo>
                  <a:cubicBezTo>
                    <a:pt x="5754" y="70"/>
                    <a:pt x="7413" y="931"/>
                    <a:pt x="7413" y="1993"/>
                  </a:cubicBezTo>
                  <a:cubicBezTo>
                    <a:pt x="7413" y="3056"/>
                    <a:pt x="5754" y="3916"/>
                    <a:pt x="3708" y="3916"/>
                  </a:cubicBezTo>
                  <a:cubicBezTo>
                    <a:pt x="1665" y="3916"/>
                    <a:pt x="7" y="3057"/>
                    <a:pt x="4" y="1996"/>
                  </a:cubicBezTo>
                  <a:cubicBezTo>
                    <a:pt x="0" y="2031"/>
                    <a:pt x="0" y="2066"/>
                    <a:pt x="0" y="2101"/>
                  </a:cubicBezTo>
                  <a:cubicBezTo>
                    <a:pt x="0" y="3262"/>
                    <a:pt x="1812" y="4204"/>
                    <a:pt x="4048" y="4204"/>
                  </a:cubicBezTo>
                  <a:cubicBezTo>
                    <a:pt x="6284" y="4204"/>
                    <a:pt x="8097" y="3262"/>
                    <a:pt x="8097" y="2101"/>
                  </a:cubicBezTo>
                  <a:cubicBezTo>
                    <a:pt x="8097" y="940"/>
                    <a:pt x="6284" y="0"/>
                    <a:pt x="4048" y="0"/>
                  </a:cubicBezTo>
                  <a:close/>
                </a:path>
              </a:pathLst>
            </a:custGeom>
            <a:solidFill>
              <a:srgbClr val="263F6A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4924" y="345"/>
              <a:ext cx="468" cy="178"/>
            </a:xfrm>
            <a:custGeom>
              <a:avLst/>
              <a:gdLst>
                <a:gd name="T0" fmla="*/ 5592 w 5735"/>
                <a:gd name="T1" fmla="*/ 546 h 2186"/>
                <a:gd name="T2" fmla="*/ 5503 w 5735"/>
                <a:gd name="T3" fmla="*/ 903 h 2186"/>
                <a:gd name="T4" fmla="*/ 5592 w 5735"/>
                <a:gd name="T5" fmla="*/ 546 h 2186"/>
                <a:gd name="T6" fmla="*/ 5549 w 5735"/>
                <a:gd name="T7" fmla="*/ 1064 h 2186"/>
                <a:gd name="T8" fmla="*/ 5283 w 5735"/>
                <a:gd name="T9" fmla="*/ 1095 h 2186"/>
                <a:gd name="T10" fmla="*/ 4931 w 5735"/>
                <a:gd name="T11" fmla="*/ 2181 h 2186"/>
                <a:gd name="T12" fmla="*/ 5197 w 5735"/>
                <a:gd name="T13" fmla="*/ 2151 h 2186"/>
                <a:gd name="T14" fmla="*/ 5549 w 5735"/>
                <a:gd name="T15" fmla="*/ 1064 h 2186"/>
                <a:gd name="T16" fmla="*/ 4892 w 5735"/>
                <a:gd name="T17" fmla="*/ 607 h 2186"/>
                <a:gd name="T18" fmla="*/ 4648 w 5735"/>
                <a:gd name="T19" fmla="*/ 552 h 2186"/>
                <a:gd name="T20" fmla="*/ 4516 w 5735"/>
                <a:gd name="T21" fmla="*/ 811 h 2186"/>
                <a:gd name="T22" fmla="*/ 4551 w 5735"/>
                <a:gd name="T23" fmla="*/ 2181 h 2186"/>
                <a:gd name="T24" fmla="*/ 4796 w 5735"/>
                <a:gd name="T25" fmla="*/ 2149 h 2186"/>
                <a:gd name="T26" fmla="*/ 4818 w 5735"/>
                <a:gd name="T27" fmla="*/ 2008 h 2186"/>
                <a:gd name="T28" fmla="*/ 4502 w 5735"/>
                <a:gd name="T29" fmla="*/ 1661 h 2186"/>
                <a:gd name="T30" fmla="*/ 3823 w 5735"/>
                <a:gd name="T31" fmla="*/ 1430 h 2186"/>
                <a:gd name="T32" fmla="*/ 3418 w 5735"/>
                <a:gd name="T33" fmla="*/ 2041 h 2186"/>
                <a:gd name="T34" fmla="*/ 3684 w 5735"/>
                <a:gd name="T35" fmla="*/ 1175 h 2186"/>
                <a:gd name="T36" fmla="*/ 2492 w 5735"/>
                <a:gd name="T37" fmla="*/ 1430 h 2186"/>
                <a:gd name="T38" fmla="*/ 2447 w 5735"/>
                <a:gd name="T39" fmla="*/ 1601 h 2186"/>
                <a:gd name="T40" fmla="*/ 2088 w 5735"/>
                <a:gd name="T41" fmla="*/ 2041 h 2186"/>
                <a:gd name="T42" fmla="*/ 2353 w 5735"/>
                <a:gd name="T43" fmla="*/ 1175 h 2186"/>
                <a:gd name="T44" fmla="*/ 3763 w 5735"/>
                <a:gd name="T45" fmla="*/ 1038 h 2186"/>
                <a:gd name="T46" fmla="*/ 2967 w 5735"/>
                <a:gd name="T47" fmla="*/ 1740 h 2186"/>
                <a:gd name="T48" fmla="*/ 2859 w 5735"/>
                <a:gd name="T49" fmla="*/ 2046 h 2186"/>
                <a:gd name="T50" fmla="*/ 2953 w 5735"/>
                <a:gd name="T51" fmla="*/ 1114 h 2186"/>
                <a:gd name="T52" fmla="*/ 2724 w 5735"/>
                <a:gd name="T53" fmla="*/ 1059 h 2186"/>
                <a:gd name="T54" fmla="*/ 2667 w 5735"/>
                <a:gd name="T55" fmla="*/ 1109 h 2186"/>
                <a:gd name="T56" fmla="*/ 1635 w 5735"/>
                <a:gd name="T57" fmla="*/ 1740 h 2186"/>
                <a:gd name="T58" fmla="*/ 2433 w 5735"/>
                <a:gd name="T59" fmla="*/ 2027 h 2186"/>
                <a:gd name="T60" fmla="*/ 3344 w 5735"/>
                <a:gd name="T61" fmla="*/ 2178 h 2186"/>
                <a:gd name="T62" fmla="*/ 3344 w 5735"/>
                <a:gd name="T63" fmla="*/ 2178 h 2186"/>
                <a:gd name="T64" fmla="*/ 3763 w 5735"/>
                <a:gd name="T65" fmla="*/ 1038 h 2186"/>
                <a:gd name="T66" fmla="*/ 1191 w 5735"/>
                <a:gd name="T67" fmla="*/ 1517 h 2186"/>
                <a:gd name="T68" fmla="*/ 512 w 5735"/>
                <a:gd name="T69" fmla="*/ 1661 h 2186"/>
                <a:gd name="T70" fmla="*/ 910 w 5735"/>
                <a:gd name="T71" fmla="*/ 1138 h 2186"/>
                <a:gd name="T72" fmla="*/ 1785 w 5735"/>
                <a:gd name="T73" fmla="*/ 529 h 2186"/>
                <a:gd name="T74" fmla="*/ 1184 w 5735"/>
                <a:gd name="T75" fmla="*/ 1 h 2186"/>
                <a:gd name="T76" fmla="*/ 1030 w 5735"/>
                <a:gd name="T77" fmla="*/ 161 h 2186"/>
                <a:gd name="T78" fmla="*/ 964 w 5735"/>
                <a:gd name="T79" fmla="*/ 984 h 2186"/>
                <a:gd name="T80" fmla="*/ 917 w 5735"/>
                <a:gd name="T81" fmla="*/ 563 h 2186"/>
                <a:gd name="T82" fmla="*/ 930 w 5735"/>
                <a:gd name="T83" fmla="*/ 514 h 2186"/>
                <a:gd name="T84" fmla="*/ 593 w 5735"/>
                <a:gd name="T85" fmla="*/ 521 h 2186"/>
                <a:gd name="T86" fmla="*/ 195 w 5735"/>
                <a:gd name="T87" fmla="*/ 1583 h 2186"/>
                <a:gd name="T88" fmla="*/ 1586 w 5735"/>
                <a:gd name="T89" fmla="*/ 1520 h 2186"/>
                <a:gd name="T90" fmla="*/ 1253 w 5735"/>
                <a:gd name="T91" fmla="*/ 1034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35" h="2186">
                  <a:moveTo>
                    <a:pt x="5592" y="546"/>
                  </a:moveTo>
                  <a:lnTo>
                    <a:pt x="5592" y="546"/>
                  </a:lnTo>
                  <a:cubicBezTo>
                    <a:pt x="5497" y="546"/>
                    <a:pt x="5398" y="627"/>
                    <a:pt x="5377" y="742"/>
                  </a:cubicBezTo>
                  <a:cubicBezTo>
                    <a:pt x="5364" y="816"/>
                    <a:pt x="5397" y="903"/>
                    <a:pt x="5503" y="903"/>
                  </a:cubicBezTo>
                  <a:cubicBezTo>
                    <a:pt x="5595" y="903"/>
                    <a:pt x="5699" y="836"/>
                    <a:pt x="5723" y="701"/>
                  </a:cubicBezTo>
                  <a:cubicBezTo>
                    <a:pt x="5735" y="642"/>
                    <a:pt x="5703" y="546"/>
                    <a:pt x="5592" y="546"/>
                  </a:cubicBezTo>
                  <a:close/>
                  <a:moveTo>
                    <a:pt x="5549" y="1064"/>
                  </a:moveTo>
                  <a:lnTo>
                    <a:pt x="5549" y="1064"/>
                  </a:lnTo>
                  <a:lnTo>
                    <a:pt x="5330" y="1064"/>
                  </a:lnTo>
                  <a:cubicBezTo>
                    <a:pt x="5297" y="1064"/>
                    <a:pt x="5291" y="1075"/>
                    <a:pt x="5283" y="1095"/>
                  </a:cubicBezTo>
                  <a:cubicBezTo>
                    <a:pt x="5125" y="1524"/>
                    <a:pt x="4951" y="1999"/>
                    <a:pt x="4900" y="2138"/>
                  </a:cubicBezTo>
                  <a:cubicBezTo>
                    <a:pt x="4885" y="2184"/>
                    <a:pt x="4908" y="2181"/>
                    <a:pt x="4931" y="2181"/>
                  </a:cubicBezTo>
                  <a:lnTo>
                    <a:pt x="5149" y="2181"/>
                  </a:lnTo>
                  <a:cubicBezTo>
                    <a:pt x="5188" y="2180"/>
                    <a:pt x="5193" y="2161"/>
                    <a:pt x="5197" y="2151"/>
                  </a:cubicBezTo>
                  <a:lnTo>
                    <a:pt x="5580" y="1107"/>
                  </a:lnTo>
                  <a:cubicBezTo>
                    <a:pt x="5597" y="1062"/>
                    <a:pt x="5570" y="1064"/>
                    <a:pt x="5549" y="1064"/>
                  </a:cubicBezTo>
                  <a:close/>
                  <a:moveTo>
                    <a:pt x="4892" y="607"/>
                  </a:moveTo>
                  <a:lnTo>
                    <a:pt x="4892" y="607"/>
                  </a:lnTo>
                  <a:cubicBezTo>
                    <a:pt x="4907" y="560"/>
                    <a:pt x="4892" y="552"/>
                    <a:pt x="4854" y="552"/>
                  </a:cubicBezTo>
                  <a:lnTo>
                    <a:pt x="4648" y="552"/>
                  </a:lnTo>
                  <a:cubicBezTo>
                    <a:pt x="4616" y="552"/>
                    <a:pt x="4610" y="563"/>
                    <a:pt x="4602" y="583"/>
                  </a:cubicBezTo>
                  <a:cubicBezTo>
                    <a:pt x="4602" y="583"/>
                    <a:pt x="4553" y="711"/>
                    <a:pt x="4516" y="811"/>
                  </a:cubicBezTo>
                  <a:lnTo>
                    <a:pt x="4231" y="1583"/>
                  </a:lnTo>
                  <a:cubicBezTo>
                    <a:pt x="4036" y="2153"/>
                    <a:pt x="4465" y="2176"/>
                    <a:pt x="4551" y="2181"/>
                  </a:cubicBezTo>
                  <a:lnTo>
                    <a:pt x="4740" y="2181"/>
                  </a:lnTo>
                  <a:cubicBezTo>
                    <a:pt x="4740" y="2181"/>
                    <a:pt x="4782" y="2184"/>
                    <a:pt x="4796" y="2149"/>
                  </a:cubicBezTo>
                  <a:cubicBezTo>
                    <a:pt x="4813" y="2105"/>
                    <a:pt x="4836" y="2043"/>
                    <a:pt x="4836" y="2043"/>
                  </a:cubicBezTo>
                  <a:cubicBezTo>
                    <a:pt x="4836" y="2043"/>
                    <a:pt x="4858" y="1992"/>
                    <a:pt x="4818" y="2008"/>
                  </a:cubicBezTo>
                  <a:cubicBezTo>
                    <a:pt x="4772" y="2025"/>
                    <a:pt x="4690" y="2048"/>
                    <a:pt x="4618" y="2046"/>
                  </a:cubicBezTo>
                  <a:cubicBezTo>
                    <a:pt x="4561" y="2046"/>
                    <a:pt x="4398" y="1980"/>
                    <a:pt x="4502" y="1661"/>
                  </a:cubicBezTo>
                  <a:lnTo>
                    <a:pt x="4892" y="607"/>
                  </a:lnTo>
                  <a:close/>
                  <a:moveTo>
                    <a:pt x="3823" y="1430"/>
                  </a:moveTo>
                  <a:lnTo>
                    <a:pt x="3823" y="1430"/>
                  </a:lnTo>
                  <a:cubicBezTo>
                    <a:pt x="3780" y="1671"/>
                    <a:pt x="3623" y="2041"/>
                    <a:pt x="3418" y="2041"/>
                  </a:cubicBezTo>
                  <a:cubicBezTo>
                    <a:pt x="3279" y="2041"/>
                    <a:pt x="3252" y="1897"/>
                    <a:pt x="3282" y="1728"/>
                  </a:cubicBezTo>
                  <a:cubicBezTo>
                    <a:pt x="3334" y="1434"/>
                    <a:pt x="3534" y="1175"/>
                    <a:pt x="3684" y="1175"/>
                  </a:cubicBezTo>
                  <a:cubicBezTo>
                    <a:pt x="3799" y="1175"/>
                    <a:pt x="3851" y="1267"/>
                    <a:pt x="3823" y="1430"/>
                  </a:cubicBezTo>
                  <a:close/>
                  <a:moveTo>
                    <a:pt x="2492" y="1430"/>
                  </a:moveTo>
                  <a:lnTo>
                    <a:pt x="2492" y="1430"/>
                  </a:lnTo>
                  <a:cubicBezTo>
                    <a:pt x="2482" y="1483"/>
                    <a:pt x="2467" y="1542"/>
                    <a:pt x="2447" y="1601"/>
                  </a:cubicBezTo>
                  <a:cubicBezTo>
                    <a:pt x="2435" y="1632"/>
                    <a:pt x="2425" y="1662"/>
                    <a:pt x="2415" y="1690"/>
                  </a:cubicBezTo>
                  <a:cubicBezTo>
                    <a:pt x="2342" y="1873"/>
                    <a:pt x="2225" y="2041"/>
                    <a:pt x="2088" y="2041"/>
                  </a:cubicBezTo>
                  <a:cubicBezTo>
                    <a:pt x="1948" y="2041"/>
                    <a:pt x="1921" y="1897"/>
                    <a:pt x="1951" y="1728"/>
                  </a:cubicBezTo>
                  <a:cubicBezTo>
                    <a:pt x="2004" y="1434"/>
                    <a:pt x="2203" y="1175"/>
                    <a:pt x="2353" y="1175"/>
                  </a:cubicBezTo>
                  <a:cubicBezTo>
                    <a:pt x="2469" y="1175"/>
                    <a:pt x="2520" y="1267"/>
                    <a:pt x="2492" y="1430"/>
                  </a:cubicBezTo>
                  <a:close/>
                  <a:moveTo>
                    <a:pt x="3763" y="1038"/>
                  </a:moveTo>
                  <a:lnTo>
                    <a:pt x="3763" y="1038"/>
                  </a:lnTo>
                  <a:cubicBezTo>
                    <a:pt x="3408" y="1038"/>
                    <a:pt x="3041" y="1314"/>
                    <a:pt x="2967" y="1740"/>
                  </a:cubicBezTo>
                  <a:cubicBezTo>
                    <a:pt x="2949" y="1843"/>
                    <a:pt x="2961" y="1944"/>
                    <a:pt x="3011" y="2023"/>
                  </a:cubicBezTo>
                  <a:cubicBezTo>
                    <a:pt x="2965" y="2036"/>
                    <a:pt x="2909" y="2048"/>
                    <a:pt x="2859" y="2046"/>
                  </a:cubicBezTo>
                  <a:cubicBezTo>
                    <a:pt x="2803" y="2046"/>
                    <a:pt x="2580" y="1980"/>
                    <a:pt x="2713" y="1661"/>
                  </a:cubicBezTo>
                  <a:lnTo>
                    <a:pt x="2953" y="1114"/>
                  </a:lnTo>
                  <a:cubicBezTo>
                    <a:pt x="2974" y="1068"/>
                    <a:pt x="2958" y="1059"/>
                    <a:pt x="2919" y="1059"/>
                  </a:cubicBezTo>
                  <a:lnTo>
                    <a:pt x="2724" y="1059"/>
                  </a:lnTo>
                  <a:cubicBezTo>
                    <a:pt x="2692" y="1059"/>
                    <a:pt x="2685" y="1070"/>
                    <a:pt x="2675" y="1090"/>
                  </a:cubicBezTo>
                  <a:lnTo>
                    <a:pt x="2667" y="1109"/>
                  </a:lnTo>
                  <a:cubicBezTo>
                    <a:pt x="2613" y="1064"/>
                    <a:pt x="2536" y="1038"/>
                    <a:pt x="2432" y="1038"/>
                  </a:cubicBezTo>
                  <a:cubicBezTo>
                    <a:pt x="2078" y="1038"/>
                    <a:pt x="1711" y="1314"/>
                    <a:pt x="1635" y="1740"/>
                  </a:cubicBezTo>
                  <a:cubicBezTo>
                    <a:pt x="1596" y="1963"/>
                    <a:pt x="1702" y="2178"/>
                    <a:pt x="2013" y="2178"/>
                  </a:cubicBezTo>
                  <a:cubicBezTo>
                    <a:pt x="2169" y="2178"/>
                    <a:pt x="2313" y="2120"/>
                    <a:pt x="2433" y="2027"/>
                  </a:cubicBezTo>
                  <a:cubicBezTo>
                    <a:pt x="2525" y="2166"/>
                    <a:pt x="2729" y="2176"/>
                    <a:pt x="2783" y="2178"/>
                  </a:cubicBezTo>
                  <a:lnTo>
                    <a:pt x="3344" y="2178"/>
                  </a:lnTo>
                  <a:lnTo>
                    <a:pt x="3344" y="2178"/>
                  </a:lnTo>
                  <a:lnTo>
                    <a:pt x="3344" y="2178"/>
                  </a:lnTo>
                  <a:cubicBezTo>
                    <a:pt x="3718" y="2178"/>
                    <a:pt x="4062" y="1850"/>
                    <a:pt x="4126" y="1482"/>
                  </a:cubicBezTo>
                  <a:cubicBezTo>
                    <a:pt x="4171" y="1231"/>
                    <a:pt x="4046" y="1038"/>
                    <a:pt x="3763" y="1038"/>
                  </a:cubicBezTo>
                  <a:close/>
                  <a:moveTo>
                    <a:pt x="1191" y="1517"/>
                  </a:moveTo>
                  <a:lnTo>
                    <a:pt x="1191" y="1517"/>
                  </a:lnTo>
                  <a:cubicBezTo>
                    <a:pt x="1158" y="1703"/>
                    <a:pt x="931" y="2016"/>
                    <a:pt x="632" y="2016"/>
                  </a:cubicBezTo>
                  <a:cubicBezTo>
                    <a:pt x="576" y="2014"/>
                    <a:pt x="406" y="1980"/>
                    <a:pt x="512" y="1661"/>
                  </a:cubicBezTo>
                  <a:lnTo>
                    <a:pt x="704" y="1138"/>
                  </a:lnTo>
                  <a:lnTo>
                    <a:pt x="910" y="1138"/>
                  </a:lnTo>
                  <a:cubicBezTo>
                    <a:pt x="1154" y="1138"/>
                    <a:pt x="1223" y="1341"/>
                    <a:pt x="1191" y="1517"/>
                  </a:cubicBezTo>
                  <a:close/>
                  <a:moveTo>
                    <a:pt x="1785" y="529"/>
                  </a:moveTo>
                  <a:lnTo>
                    <a:pt x="1785" y="529"/>
                  </a:lnTo>
                  <a:cubicBezTo>
                    <a:pt x="1831" y="269"/>
                    <a:pt x="1599" y="3"/>
                    <a:pt x="1184" y="1"/>
                  </a:cubicBezTo>
                  <a:cubicBezTo>
                    <a:pt x="836" y="0"/>
                    <a:pt x="566" y="260"/>
                    <a:pt x="566" y="260"/>
                  </a:cubicBezTo>
                  <a:cubicBezTo>
                    <a:pt x="566" y="260"/>
                    <a:pt x="744" y="134"/>
                    <a:pt x="1030" y="161"/>
                  </a:cubicBezTo>
                  <a:cubicBezTo>
                    <a:pt x="1320" y="189"/>
                    <a:pt x="1475" y="377"/>
                    <a:pt x="1455" y="533"/>
                  </a:cubicBezTo>
                  <a:cubicBezTo>
                    <a:pt x="1418" y="822"/>
                    <a:pt x="1172" y="984"/>
                    <a:pt x="964" y="984"/>
                  </a:cubicBezTo>
                  <a:lnTo>
                    <a:pt x="761" y="984"/>
                  </a:lnTo>
                  <a:lnTo>
                    <a:pt x="917" y="563"/>
                  </a:lnTo>
                  <a:cubicBezTo>
                    <a:pt x="920" y="555"/>
                    <a:pt x="922" y="548"/>
                    <a:pt x="923" y="541"/>
                  </a:cubicBezTo>
                  <a:cubicBezTo>
                    <a:pt x="925" y="533"/>
                    <a:pt x="929" y="524"/>
                    <a:pt x="930" y="514"/>
                  </a:cubicBezTo>
                  <a:cubicBezTo>
                    <a:pt x="941" y="455"/>
                    <a:pt x="910" y="359"/>
                    <a:pt x="799" y="359"/>
                  </a:cubicBezTo>
                  <a:cubicBezTo>
                    <a:pt x="713" y="359"/>
                    <a:pt x="625" y="424"/>
                    <a:pt x="593" y="521"/>
                  </a:cubicBezTo>
                  <a:cubicBezTo>
                    <a:pt x="589" y="526"/>
                    <a:pt x="586" y="531"/>
                    <a:pt x="583" y="539"/>
                  </a:cubicBezTo>
                  <a:lnTo>
                    <a:pt x="195" y="1583"/>
                  </a:lnTo>
                  <a:cubicBezTo>
                    <a:pt x="0" y="2153"/>
                    <a:pt x="473" y="2182"/>
                    <a:pt x="560" y="2186"/>
                  </a:cubicBezTo>
                  <a:cubicBezTo>
                    <a:pt x="1316" y="2186"/>
                    <a:pt x="1539" y="1787"/>
                    <a:pt x="1586" y="1520"/>
                  </a:cubicBezTo>
                  <a:cubicBezTo>
                    <a:pt x="1602" y="1433"/>
                    <a:pt x="1617" y="1086"/>
                    <a:pt x="1252" y="1040"/>
                  </a:cubicBezTo>
                  <a:lnTo>
                    <a:pt x="1253" y="1034"/>
                  </a:lnTo>
                  <a:cubicBezTo>
                    <a:pt x="1483" y="987"/>
                    <a:pt x="1735" y="813"/>
                    <a:pt x="1785" y="529"/>
                  </a:cubicBezTo>
                  <a:close/>
                </a:path>
              </a:pathLst>
            </a:custGeom>
            <a:solidFill>
              <a:srgbClr val="0065BD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5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4"/>
          <p:cNvSpPr>
            <a:spLocks noGrp="1"/>
          </p:cNvSpPr>
          <p:nvPr>
            <p:ph sz="quarter" idx="13"/>
          </p:nvPr>
        </p:nvSpPr>
        <p:spPr>
          <a:xfrm>
            <a:off x="360003" y="1224000"/>
            <a:ext cx="8423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plan 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4"/>
          <p:cNvSpPr>
            <a:spLocks noGrp="1"/>
          </p:cNvSpPr>
          <p:nvPr>
            <p:ph sz="quarter" idx="13"/>
          </p:nvPr>
        </p:nvSpPr>
        <p:spPr>
          <a:xfrm>
            <a:off x="360003" y="1224000"/>
            <a:ext cx="8423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12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12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6612603" y="269470"/>
            <a:ext cx="1022400" cy="61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none" lIns="108000" tIns="36000" rIns="36000" bIns="54000" rtlCol="0" anchor="ctr">
            <a:noAutofit/>
          </a:bodyPr>
          <a:lstStyle/>
          <a:p>
            <a:pPr algn="ctr"/>
            <a:endParaRPr lang="en-US" sz="1400" b="1" noProof="0" dirty="0">
              <a:solidFill>
                <a:srgbClr val="383633"/>
              </a:solidFill>
              <a:latin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num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2"/>
          <p:cNvSpPr>
            <a:spLocks noGrp="1"/>
          </p:cNvSpPr>
          <p:nvPr>
            <p:ph idx="1" hasCustomPrompt="1"/>
          </p:nvPr>
        </p:nvSpPr>
        <p:spPr>
          <a:xfrm>
            <a:off x="360004" y="1224000"/>
            <a:ext cx="8423999" cy="33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42900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42900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683895" indent="-342900"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rabicPeriod"/>
              <a:defRPr lang="de-DE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Arial" panose="020B0604020202020204"/>
              </a:defRPr>
            </a:lvl3pPr>
            <a:lvl4pPr marL="683895" indent="-342900"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lphaLcPeriod"/>
              <a:defRPr lang="de-DE" sz="1600" b="0" dirty="0">
                <a:solidFill>
                  <a:schemeClr val="tx1"/>
                </a:solidFill>
                <a:latin typeface="微软雅黑" panose="020B0503020204020204" pitchFamily="34" charset="-122"/>
                <a:ea typeface="Arial" panose="020B0604020202020204"/>
              </a:defRPr>
            </a:lvl4pPr>
            <a:lvl5pPr marL="683895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  <a:lvl6pPr marL="340995" marR="0" indent="0" algn="l" defTabSz="87185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rabicPeriod" startAt="2"/>
              <a:defRPr sz="1400">
                <a:solidFill>
                  <a:schemeClr val="tx1"/>
                </a:solidFill>
              </a:defRPr>
            </a:lvl6pPr>
            <a:lvl7pPr marL="847090" indent="0">
              <a:buFont typeface="+mj-lt"/>
              <a:buAutoNum type="arabicPeriod"/>
              <a:defRPr/>
            </a:lvl7pPr>
            <a:lvl8pPr marL="847090" indent="-342900">
              <a:buFont typeface="+mj-lt"/>
              <a:buAutoNum type="arabicPeriod"/>
              <a:defRPr/>
            </a:lvl8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marL="683895" lvl="4" indent="-342900" algn="l" defTabSz="871855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marL="683895" lvl="5" indent="-342900" algn="l" defTabSz="871855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100000"/>
              <a:buFont typeface="+mj-lt"/>
              <a:buAutoNum type="alphaLcPeriod"/>
            </a:pPr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 left + top and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4"/>
          </p:nvPr>
        </p:nvSpPr>
        <p:spPr>
          <a:xfrm>
            <a:off x="360004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4716020" y="2952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 left + image / content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60367" y="2952000"/>
            <a:ext cx="4067175" cy="162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1224000"/>
            <a:ext cx="4067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360004" y="1224000"/>
            <a:ext cx="406799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 top + below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3"/>
          <p:cNvSpPr>
            <a:spLocks noGrp="1"/>
          </p:cNvSpPr>
          <p:nvPr>
            <p:ph sz="quarter" idx="15"/>
          </p:nvPr>
        </p:nvSpPr>
        <p:spPr>
          <a:xfrm>
            <a:off x="4716020" y="2545086"/>
            <a:ext cx="4067999" cy="20269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" name="Inhaltsplatzhalter 3"/>
          <p:cNvSpPr>
            <a:spLocks noGrp="1"/>
          </p:cNvSpPr>
          <p:nvPr>
            <p:ph sz="quarter" idx="16"/>
          </p:nvPr>
        </p:nvSpPr>
        <p:spPr>
          <a:xfrm>
            <a:off x="360004" y="1224000"/>
            <a:ext cx="8424015" cy="1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360004" y="2545086"/>
            <a:ext cx="4067999" cy="20269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image above + content be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360004" y="2950413"/>
            <a:ext cx="8421139" cy="162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8424000" cy="159733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subhead. / 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37" name="Rectangle 6"/>
          <p:cNvSpPr txBox="1">
            <a:spLocks noChangeArrowheads="1"/>
          </p:cNvSpPr>
          <p:nvPr userDrawn="1"/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defPPr>
              <a:defRPr lang="de-DE"/>
            </a:defPPr>
            <a:lvl1pPr marL="0" algn="l" defTabSz="841375" rtl="0" eaLnBrk="1" latinLnBrk="0" hangingPunct="1">
              <a:spcBef>
                <a:spcPct val="0"/>
              </a:spcBef>
              <a:defRPr sz="7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22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51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80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835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CC5461-F7F8-834A-A33C-7913089D93E6}" type="slidenum">
              <a:rPr lang="en-US" noProof="0" smtClean="0">
                <a:solidFill>
                  <a:schemeClr val="tx1"/>
                </a:solidFill>
              </a:rPr>
              <a:t>‹#›</a:t>
            </a:fld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68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762875" y="269470"/>
            <a:ext cx="1020763" cy="612530"/>
          </a:xfrm>
          <a:prstGeom prst="rect">
            <a:avLst/>
          </a:prstGeom>
        </p:spPr>
      </p:pic>
      <p:sp>
        <p:nvSpPr>
          <p:cNvPr id="6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1044000"/>
            <a:ext cx="9144000" cy="4104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720000" y="2669584"/>
            <a:ext cx="7704000" cy="1080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idx="1"/>
          </p:nvPr>
        </p:nvSpPr>
        <p:spPr>
          <a:xfrm>
            <a:off x="720000" y="3785584"/>
            <a:ext cx="7704000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72782" y="269470"/>
            <a:ext cx="1411217" cy="8474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ellenplatzhalter 2"/>
          <p:cNvSpPr>
            <a:spLocks noGrp="1"/>
          </p:cNvSpPr>
          <p:nvPr>
            <p:ph type="tbl" idx="1" hasCustomPrompt="1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表格</a:t>
            </a:r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>
          <a:xfrm>
            <a:off x="360000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diagram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>
          <a:xfrm>
            <a:off x="360000" y="1224000"/>
            <a:ext cx="8424000" cy="162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3" hasCustomPrompt="1"/>
          </p:nvPr>
        </p:nvSpPr>
        <p:spPr>
          <a:xfrm>
            <a:off x="360000" y="2952000"/>
            <a:ext cx="8424000" cy="162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content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3"/>
          <p:cNvSpPr>
            <a:spLocks noGrp="1"/>
          </p:cNvSpPr>
          <p:nvPr>
            <p:ph sz="quarter" idx="21"/>
          </p:nvPr>
        </p:nvSpPr>
        <p:spPr>
          <a:xfrm>
            <a:off x="360002" y="3316123"/>
            <a:ext cx="842363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8777" y="1224002"/>
            <a:ext cx="8423639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7" y="2991469"/>
            <a:ext cx="8423639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9"/>
          </p:nvPr>
        </p:nvSpPr>
        <p:spPr>
          <a:xfrm>
            <a:off x="360002" y="1548000"/>
            <a:ext cx="842363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4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2"/>
          <p:cNvSpPr>
            <a:spLocks noGrp="1"/>
          </p:cNvSpPr>
          <p:nvPr>
            <p:ph type="body" idx="1"/>
          </p:nvPr>
        </p:nvSpPr>
        <p:spPr>
          <a:xfrm>
            <a:off x="358779" y="1224002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5"/>
          </p:nvPr>
        </p:nvSpPr>
        <p:spPr>
          <a:xfrm>
            <a:off x="4716020" y="1224002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/>
          </p:nvPr>
        </p:nvSpPr>
        <p:spPr>
          <a:xfrm>
            <a:off x="358779" y="2988000"/>
            <a:ext cx="4068763" cy="252000"/>
          </a:xfrm>
          <a:prstGeom prst="rect">
            <a:avLst/>
          </a:prstGeom>
          <a:solidFill>
            <a:srgbClr val="A00020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7"/>
          </p:nvPr>
        </p:nvSpPr>
        <p:spPr>
          <a:xfrm>
            <a:off x="4716020" y="2988000"/>
            <a:ext cx="4068763" cy="252000"/>
          </a:xfrm>
          <a:prstGeom prst="rect">
            <a:avLst/>
          </a:prstGeom>
          <a:solidFill>
            <a:srgbClr val="A00020"/>
          </a:solidFill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bg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9"/>
          </p:nvPr>
        </p:nvSpPr>
        <p:spPr>
          <a:xfrm>
            <a:off x="360004" y="1548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20"/>
          </p:nvPr>
        </p:nvSpPr>
        <p:spPr>
          <a:xfrm>
            <a:off x="4716020" y="1548000"/>
            <a:ext cx="4067999" cy="126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21"/>
          </p:nvPr>
        </p:nvSpPr>
        <p:spPr>
          <a:xfrm>
            <a:off x="358779" y="3312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quarter" idx="22"/>
          </p:nvPr>
        </p:nvSpPr>
        <p:spPr>
          <a:xfrm>
            <a:off x="4714795" y="3312000"/>
            <a:ext cx="4067999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8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2 images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3"/>
          <p:cNvSpPr>
            <a:spLocks noGrp="1"/>
          </p:cNvSpPr>
          <p:nvPr>
            <p:ph type="pic" sz="quarter" idx="13"/>
          </p:nvPr>
        </p:nvSpPr>
        <p:spPr>
          <a:xfrm>
            <a:off x="360001" y="1224000"/>
            <a:ext cx="4176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/>
          </p:nvPr>
        </p:nvSpPr>
        <p:spPr>
          <a:xfrm>
            <a:off x="4608001" y="1224000"/>
            <a:ext cx="4176000" cy="334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subhead. / organization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martArt-Platzhalter 2"/>
          <p:cNvSpPr>
            <a:spLocks noGrp="1"/>
          </p:cNvSpPr>
          <p:nvPr>
            <p:ph type="pic" idx="1" hasCustomPrompt="1"/>
          </p:nvPr>
        </p:nvSpPr>
        <p:spPr>
          <a:xfrm>
            <a:off x="360001" y="1224000"/>
            <a:ext cx="8424000" cy="33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单击图标添加 </a:t>
            </a:r>
            <a:r>
              <a:rPr lang="en-US" altLang="zh-CN" noProof="0" dirty="0"/>
              <a:t>SmartArt </a:t>
            </a:r>
            <a:r>
              <a:rPr lang="zh-CN" altLang="en-US" noProof="0" dirty="0"/>
              <a:t>图形</a:t>
            </a:r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US" noProof="0" dirty="0">
              <a:latin typeface="Arial" panose="020B060402020202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6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noProof="0">
                <a:latin typeface="Arial" panose="020B0604020202020204" pitchFamily="34" charset="0"/>
              </a:rPr>
              <a:t>Title of presentation | first name last name | date</a:t>
            </a:r>
            <a:endParaRPr lang="en-GB" noProof="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Title of presentation | first name last name | date</a:t>
            </a:r>
            <a:endParaRPr lang="en-GB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720000" y="2669584"/>
            <a:ext cx="7704000" cy="1080000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2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idx="1"/>
          </p:nvPr>
        </p:nvSpPr>
        <p:spPr>
          <a:xfrm>
            <a:off x="720000" y="3785584"/>
            <a:ext cx="7704000" cy="252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3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72782" y="269470"/>
            <a:ext cx="1411217" cy="8474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7289408" y="263226"/>
            <a:ext cx="1632948" cy="847448"/>
            <a:chOff x="4874" y="291"/>
            <a:chExt cx="659" cy="342"/>
          </a:xfrm>
        </p:grpSpPr>
        <p:sp>
          <p:nvSpPr>
            <p:cNvPr id="2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74" y="291"/>
              <a:ext cx="659" cy="342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4" name="Freeform 5"/>
            <p:cNvSpPr/>
            <p:nvPr userDrawn="1"/>
          </p:nvSpPr>
          <p:spPr bwMode="auto">
            <a:xfrm>
              <a:off x="4874" y="291"/>
              <a:ext cx="660" cy="343"/>
            </a:xfrm>
            <a:custGeom>
              <a:avLst/>
              <a:gdLst>
                <a:gd name="T0" fmla="*/ 4048 w 8097"/>
                <a:gd name="T1" fmla="*/ 0 h 4204"/>
                <a:gd name="T2" fmla="*/ 4048 w 8097"/>
                <a:gd name="T3" fmla="*/ 0 h 4204"/>
                <a:gd name="T4" fmla="*/ 2040 w 8097"/>
                <a:gd name="T5" fmla="*/ 276 h 4204"/>
                <a:gd name="T6" fmla="*/ 3708 w 8097"/>
                <a:gd name="T7" fmla="*/ 70 h 4204"/>
                <a:gd name="T8" fmla="*/ 7413 w 8097"/>
                <a:gd name="T9" fmla="*/ 1993 h 4204"/>
                <a:gd name="T10" fmla="*/ 3708 w 8097"/>
                <a:gd name="T11" fmla="*/ 3916 h 4204"/>
                <a:gd name="T12" fmla="*/ 4 w 8097"/>
                <a:gd name="T13" fmla="*/ 1996 h 4204"/>
                <a:gd name="T14" fmla="*/ 0 w 8097"/>
                <a:gd name="T15" fmla="*/ 2101 h 4204"/>
                <a:gd name="T16" fmla="*/ 4048 w 8097"/>
                <a:gd name="T17" fmla="*/ 4204 h 4204"/>
                <a:gd name="T18" fmla="*/ 8097 w 8097"/>
                <a:gd name="T19" fmla="*/ 2101 h 4204"/>
                <a:gd name="T20" fmla="*/ 4048 w 8097"/>
                <a:gd name="T21" fmla="*/ 0 h 4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97" h="4204">
                  <a:moveTo>
                    <a:pt x="4048" y="0"/>
                  </a:moveTo>
                  <a:lnTo>
                    <a:pt x="4048" y="0"/>
                  </a:lnTo>
                  <a:cubicBezTo>
                    <a:pt x="3317" y="0"/>
                    <a:pt x="2632" y="100"/>
                    <a:pt x="2040" y="276"/>
                  </a:cubicBezTo>
                  <a:cubicBezTo>
                    <a:pt x="2542" y="145"/>
                    <a:pt x="3108" y="70"/>
                    <a:pt x="3708" y="70"/>
                  </a:cubicBezTo>
                  <a:cubicBezTo>
                    <a:pt x="5754" y="70"/>
                    <a:pt x="7413" y="931"/>
                    <a:pt x="7413" y="1993"/>
                  </a:cubicBezTo>
                  <a:cubicBezTo>
                    <a:pt x="7413" y="3056"/>
                    <a:pt x="5754" y="3916"/>
                    <a:pt x="3708" y="3916"/>
                  </a:cubicBezTo>
                  <a:cubicBezTo>
                    <a:pt x="1665" y="3916"/>
                    <a:pt x="7" y="3057"/>
                    <a:pt x="4" y="1996"/>
                  </a:cubicBezTo>
                  <a:cubicBezTo>
                    <a:pt x="0" y="2031"/>
                    <a:pt x="0" y="2066"/>
                    <a:pt x="0" y="2101"/>
                  </a:cubicBezTo>
                  <a:cubicBezTo>
                    <a:pt x="0" y="3262"/>
                    <a:pt x="1812" y="4204"/>
                    <a:pt x="4048" y="4204"/>
                  </a:cubicBezTo>
                  <a:cubicBezTo>
                    <a:pt x="6284" y="4204"/>
                    <a:pt x="8097" y="3262"/>
                    <a:pt x="8097" y="2101"/>
                  </a:cubicBezTo>
                  <a:cubicBezTo>
                    <a:pt x="8097" y="940"/>
                    <a:pt x="6284" y="0"/>
                    <a:pt x="4048" y="0"/>
                  </a:cubicBezTo>
                  <a:close/>
                </a:path>
              </a:pathLst>
            </a:custGeom>
            <a:solidFill>
              <a:srgbClr val="263F6A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4924" y="345"/>
              <a:ext cx="468" cy="178"/>
            </a:xfrm>
            <a:custGeom>
              <a:avLst/>
              <a:gdLst>
                <a:gd name="T0" fmla="*/ 5592 w 5735"/>
                <a:gd name="T1" fmla="*/ 546 h 2186"/>
                <a:gd name="T2" fmla="*/ 5503 w 5735"/>
                <a:gd name="T3" fmla="*/ 903 h 2186"/>
                <a:gd name="T4" fmla="*/ 5592 w 5735"/>
                <a:gd name="T5" fmla="*/ 546 h 2186"/>
                <a:gd name="T6" fmla="*/ 5549 w 5735"/>
                <a:gd name="T7" fmla="*/ 1064 h 2186"/>
                <a:gd name="T8" fmla="*/ 5283 w 5735"/>
                <a:gd name="T9" fmla="*/ 1095 h 2186"/>
                <a:gd name="T10" fmla="*/ 4931 w 5735"/>
                <a:gd name="T11" fmla="*/ 2181 h 2186"/>
                <a:gd name="T12" fmla="*/ 5197 w 5735"/>
                <a:gd name="T13" fmla="*/ 2151 h 2186"/>
                <a:gd name="T14" fmla="*/ 5549 w 5735"/>
                <a:gd name="T15" fmla="*/ 1064 h 2186"/>
                <a:gd name="T16" fmla="*/ 4892 w 5735"/>
                <a:gd name="T17" fmla="*/ 607 h 2186"/>
                <a:gd name="T18" fmla="*/ 4648 w 5735"/>
                <a:gd name="T19" fmla="*/ 552 h 2186"/>
                <a:gd name="T20" fmla="*/ 4516 w 5735"/>
                <a:gd name="T21" fmla="*/ 811 h 2186"/>
                <a:gd name="T22" fmla="*/ 4551 w 5735"/>
                <a:gd name="T23" fmla="*/ 2181 h 2186"/>
                <a:gd name="T24" fmla="*/ 4796 w 5735"/>
                <a:gd name="T25" fmla="*/ 2149 h 2186"/>
                <a:gd name="T26" fmla="*/ 4818 w 5735"/>
                <a:gd name="T27" fmla="*/ 2008 h 2186"/>
                <a:gd name="T28" fmla="*/ 4502 w 5735"/>
                <a:gd name="T29" fmla="*/ 1661 h 2186"/>
                <a:gd name="T30" fmla="*/ 3823 w 5735"/>
                <a:gd name="T31" fmla="*/ 1430 h 2186"/>
                <a:gd name="T32" fmla="*/ 3418 w 5735"/>
                <a:gd name="T33" fmla="*/ 2041 h 2186"/>
                <a:gd name="T34" fmla="*/ 3684 w 5735"/>
                <a:gd name="T35" fmla="*/ 1175 h 2186"/>
                <a:gd name="T36" fmla="*/ 2492 w 5735"/>
                <a:gd name="T37" fmla="*/ 1430 h 2186"/>
                <a:gd name="T38" fmla="*/ 2447 w 5735"/>
                <a:gd name="T39" fmla="*/ 1601 h 2186"/>
                <a:gd name="T40" fmla="*/ 2088 w 5735"/>
                <a:gd name="T41" fmla="*/ 2041 h 2186"/>
                <a:gd name="T42" fmla="*/ 2353 w 5735"/>
                <a:gd name="T43" fmla="*/ 1175 h 2186"/>
                <a:gd name="T44" fmla="*/ 3763 w 5735"/>
                <a:gd name="T45" fmla="*/ 1038 h 2186"/>
                <a:gd name="T46" fmla="*/ 2967 w 5735"/>
                <a:gd name="T47" fmla="*/ 1740 h 2186"/>
                <a:gd name="T48" fmla="*/ 2859 w 5735"/>
                <a:gd name="T49" fmla="*/ 2046 h 2186"/>
                <a:gd name="T50" fmla="*/ 2953 w 5735"/>
                <a:gd name="T51" fmla="*/ 1114 h 2186"/>
                <a:gd name="T52" fmla="*/ 2724 w 5735"/>
                <a:gd name="T53" fmla="*/ 1059 h 2186"/>
                <a:gd name="T54" fmla="*/ 2667 w 5735"/>
                <a:gd name="T55" fmla="*/ 1109 h 2186"/>
                <a:gd name="T56" fmla="*/ 1635 w 5735"/>
                <a:gd name="T57" fmla="*/ 1740 h 2186"/>
                <a:gd name="T58" fmla="*/ 2433 w 5735"/>
                <a:gd name="T59" fmla="*/ 2027 h 2186"/>
                <a:gd name="T60" fmla="*/ 3344 w 5735"/>
                <a:gd name="T61" fmla="*/ 2178 h 2186"/>
                <a:gd name="T62" fmla="*/ 3344 w 5735"/>
                <a:gd name="T63" fmla="*/ 2178 h 2186"/>
                <a:gd name="T64" fmla="*/ 3763 w 5735"/>
                <a:gd name="T65" fmla="*/ 1038 h 2186"/>
                <a:gd name="T66" fmla="*/ 1191 w 5735"/>
                <a:gd name="T67" fmla="*/ 1517 h 2186"/>
                <a:gd name="T68" fmla="*/ 512 w 5735"/>
                <a:gd name="T69" fmla="*/ 1661 h 2186"/>
                <a:gd name="T70" fmla="*/ 910 w 5735"/>
                <a:gd name="T71" fmla="*/ 1138 h 2186"/>
                <a:gd name="T72" fmla="*/ 1785 w 5735"/>
                <a:gd name="T73" fmla="*/ 529 h 2186"/>
                <a:gd name="T74" fmla="*/ 1184 w 5735"/>
                <a:gd name="T75" fmla="*/ 1 h 2186"/>
                <a:gd name="T76" fmla="*/ 1030 w 5735"/>
                <a:gd name="T77" fmla="*/ 161 h 2186"/>
                <a:gd name="T78" fmla="*/ 964 w 5735"/>
                <a:gd name="T79" fmla="*/ 984 h 2186"/>
                <a:gd name="T80" fmla="*/ 917 w 5735"/>
                <a:gd name="T81" fmla="*/ 563 h 2186"/>
                <a:gd name="T82" fmla="*/ 930 w 5735"/>
                <a:gd name="T83" fmla="*/ 514 h 2186"/>
                <a:gd name="T84" fmla="*/ 593 w 5735"/>
                <a:gd name="T85" fmla="*/ 521 h 2186"/>
                <a:gd name="T86" fmla="*/ 195 w 5735"/>
                <a:gd name="T87" fmla="*/ 1583 h 2186"/>
                <a:gd name="T88" fmla="*/ 1586 w 5735"/>
                <a:gd name="T89" fmla="*/ 1520 h 2186"/>
                <a:gd name="T90" fmla="*/ 1253 w 5735"/>
                <a:gd name="T91" fmla="*/ 1034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35" h="2186">
                  <a:moveTo>
                    <a:pt x="5592" y="546"/>
                  </a:moveTo>
                  <a:lnTo>
                    <a:pt x="5592" y="546"/>
                  </a:lnTo>
                  <a:cubicBezTo>
                    <a:pt x="5497" y="546"/>
                    <a:pt x="5398" y="627"/>
                    <a:pt x="5377" y="742"/>
                  </a:cubicBezTo>
                  <a:cubicBezTo>
                    <a:pt x="5364" y="816"/>
                    <a:pt x="5397" y="903"/>
                    <a:pt x="5503" y="903"/>
                  </a:cubicBezTo>
                  <a:cubicBezTo>
                    <a:pt x="5595" y="903"/>
                    <a:pt x="5699" y="836"/>
                    <a:pt x="5723" y="701"/>
                  </a:cubicBezTo>
                  <a:cubicBezTo>
                    <a:pt x="5735" y="642"/>
                    <a:pt x="5703" y="546"/>
                    <a:pt x="5592" y="546"/>
                  </a:cubicBezTo>
                  <a:close/>
                  <a:moveTo>
                    <a:pt x="5549" y="1064"/>
                  </a:moveTo>
                  <a:lnTo>
                    <a:pt x="5549" y="1064"/>
                  </a:lnTo>
                  <a:lnTo>
                    <a:pt x="5330" y="1064"/>
                  </a:lnTo>
                  <a:cubicBezTo>
                    <a:pt x="5297" y="1064"/>
                    <a:pt x="5291" y="1075"/>
                    <a:pt x="5283" y="1095"/>
                  </a:cubicBezTo>
                  <a:cubicBezTo>
                    <a:pt x="5125" y="1524"/>
                    <a:pt x="4951" y="1999"/>
                    <a:pt x="4900" y="2138"/>
                  </a:cubicBezTo>
                  <a:cubicBezTo>
                    <a:pt x="4885" y="2184"/>
                    <a:pt x="4908" y="2181"/>
                    <a:pt x="4931" y="2181"/>
                  </a:cubicBezTo>
                  <a:lnTo>
                    <a:pt x="5149" y="2181"/>
                  </a:lnTo>
                  <a:cubicBezTo>
                    <a:pt x="5188" y="2180"/>
                    <a:pt x="5193" y="2161"/>
                    <a:pt x="5197" y="2151"/>
                  </a:cubicBezTo>
                  <a:lnTo>
                    <a:pt x="5580" y="1107"/>
                  </a:lnTo>
                  <a:cubicBezTo>
                    <a:pt x="5597" y="1062"/>
                    <a:pt x="5570" y="1064"/>
                    <a:pt x="5549" y="1064"/>
                  </a:cubicBezTo>
                  <a:close/>
                  <a:moveTo>
                    <a:pt x="4892" y="607"/>
                  </a:moveTo>
                  <a:lnTo>
                    <a:pt x="4892" y="607"/>
                  </a:lnTo>
                  <a:cubicBezTo>
                    <a:pt x="4907" y="560"/>
                    <a:pt x="4892" y="552"/>
                    <a:pt x="4854" y="552"/>
                  </a:cubicBezTo>
                  <a:lnTo>
                    <a:pt x="4648" y="552"/>
                  </a:lnTo>
                  <a:cubicBezTo>
                    <a:pt x="4616" y="552"/>
                    <a:pt x="4610" y="563"/>
                    <a:pt x="4602" y="583"/>
                  </a:cubicBezTo>
                  <a:cubicBezTo>
                    <a:pt x="4602" y="583"/>
                    <a:pt x="4553" y="711"/>
                    <a:pt x="4516" y="811"/>
                  </a:cubicBezTo>
                  <a:lnTo>
                    <a:pt x="4231" y="1583"/>
                  </a:lnTo>
                  <a:cubicBezTo>
                    <a:pt x="4036" y="2153"/>
                    <a:pt x="4465" y="2176"/>
                    <a:pt x="4551" y="2181"/>
                  </a:cubicBezTo>
                  <a:lnTo>
                    <a:pt x="4740" y="2181"/>
                  </a:lnTo>
                  <a:cubicBezTo>
                    <a:pt x="4740" y="2181"/>
                    <a:pt x="4782" y="2184"/>
                    <a:pt x="4796" y="2149"/>
                  </a:cubicBezTo>
                  <a:cubicBezTo>
                    <a:pt x="4813" y="2105"/>
                    <a:pt x="4836" y="2043"/>
                    <a:pt x="4836" y="2043"/>
                  </a:cubicBezTo>
                  <a:cubicBezTo>
                    <a:pt x="4836" y="2043"/>
                    <a:pt x="4858" y="1992"/>
                    <a:pt x="4818" y="2008"/>
                  </a:cubicBezTo>
                  <a:cubicBezTo>
                    <a:pt x="4772" y="2025"/>
                    <a:pt x="4690" y="2048"/>
                    <a:pt x="4618" y="2046"/>
                  </a:cubicBezTo>
                  <a:cubicBezTo>
                    <a:pt x="4561" y="2046"/>
                    <a:pt x="4398" y="1980"/>
                    <a:pt x="4502" y="1661"/>
                  </a:cubicBezTo>
                  <a:lnTo>
                    <a:pt x="4892" y="607"/>
                  </a:lnTo>
                  <a:close/>
                  <a:moveTo>
                    <a:pt x="3823" y="1430"/>
                  </a:moveTo>
                  <a:lnTo>
                    <a:pt x="3823" y="1430"/>
                  </a:lnTo>
                  <a:cubicBezTo>
                    <a:pt x="3780" y="1671"/>
                    <a:pt x="3623" y="2041"/>
                    <a:pt x="3418" y="2041"/>
                  </a:cubicBezTo>
                  <a:cubicBezTo>
                    <a:pt x="3279" y="2041"/>
                    <a:pt x="3252" y="1897"/>
                    <a:pt x="3282" y="1728"/>
                  </a:cubicBezTo>
                  <a:cubicBezTo>
                    <a:pt x="3334" y="1434"/>
                    <a:pt x="3534" y="1175"/>
                    <a:pt x="3684" y="1175"/>
                  </a:cubicBezTo>
                  <a:cubicBezTo>
                    <a:pt x="3799" y="1175"/>
                    <a:pt x="3851" y="1267"/>
                    <a:pt x="3823" y="1430"/>
                  </a:cubicBezTo>
                  <a:close/>
                  <a:moveTo>
                    <a:pt x="2492" y="1430"/>
                  </a:moveTo>
                  <a:lnTo>
                    <a:pt x="2492" y="1430"/>
                  </a:lnTo>
                  <a:cubicBezTo>
                    <a:pt x="2482" y="1483"/>
                    <a:pt x="2467" y="1542"/>
                    <a:pt x="2447" y="1601"/>
                  </a:cubicBezTo>
                  <a:cubicBezTo>
                    <a:pt x="2435" y="1632"/>
                    <a:pt x="2425" y="1662"/>
                    <a:pt x="2415" y="1690"/>
                  </a:cubicBezTo>
                  <a:cubicBezTo>
                    <a:pt x="2342" y="1873"/>
                    <a:pt x="2225" y="2041"/>
                    <a:pt x="2088" y="2041"/>
                  </a:cubicBezTo>
                  <a:cubicBezTo>
                    <a:pt x="1948" y="2041"/>
                    <a:pt x="1921" y="1897"/>
                    <a:pt x="1951" y="1728"/>
                  </a:cubicBezTo>
                  <a:cubicBezTo>
                    <a:pt x="2004" y="1434"/>
                    <a:pt x="2203" y="1175"/>
                    <a:pt x="2353" y="1175"/>
                  </a:cubicBezTo>
                  <a:cubicBezTo>
                    <a:pt x="2469" y="1175"/>
                    <a:pt x="2520" y="1267"/>
                    <a:pt x="2492" y="1430"/>
                  </a:cubicBezTo>
                  <a:close/>
                  <a:moveTo>
                    <a:pt x="3763" y="1038"/>
                  </a:moveTo>
                  <a:lnTo>
                    <a:pt x="3763" y="1038"/>
                  </a:lnTo>
                  <a:cubicBezTo>
                    <a:pt x="3408" y="1038"/>
                    <a:pt x="3041" y="1314"/>
                    <a:pt x="2967" y="1740"/>
                  </a:cubicBezTo>
                  <a:cubicBezTo>
                    <a:pt x="2949" y="1843"/>
                    <a:pt x="2961" y="1944"/>
                    <a:pt x="3011" y="2023"/>
                  </a:cubicBezTo>
                  <a:cubicBezTo>
                    <a:pt x="2965" y="2036"/>
                    <a:pt x="2909" y="2048"/>
                    <a:pt x="2859" y="2046"/>
                  </a:cubicBezTo>
                  <a:cubicBezTo>
                    <a:pt x="2803" y="2046"/>
                    <a:pt x="2580" y="1980"/>
                    <a:pt x="2713" y="1661"/>
                  </a:cubicBezTo>
                  <a:lnTo>
                    <a:pt x="2953" y="1114"/>
                  </a:lnTo>
                  <a:cubicBezTo>
                    <a:pt x="2974" y="1068"/>
                    <a:pt x="2958" y="1059"/>
                    <a:pt x="2919" y="1059"/>
                  </a:cubicBezTo>
                  <a:lnTo>
                    <a:pt x="2724" y="1059"/>
                  </a:lnTo>
                  <a:cubicBezTo>
                    <a:pt x="2692" y="1059"/>
                    <a:pt x="2685" y="1070"/>
                    <a:pt x="2675" y="1090"/>
                  </a:cubicBezTo>
                  <a:lnTo>
                    <a:pt x="2667" y="1109"/>
                  </a:lnTo>
                  <a:cubicBezTo>
                    <a:pt x="2613" y="1064"/>
                    <a:pt x="2536" y="1038"/>
                    <a:pt x="2432" y="1038"/>
                  </a:cubicBezTo>
                  <a:cubicBezTo>
                    <a:pt x="2078" y="1038"/>
                    <a:pt x="1711" y="1314"/>
                    <a:pt x="1635" y="1740"/>
                  </a:cubicBezTo>
                  <a:cubicBezTo>
                    <a:pt x="1596" y="1963"/>
                    <a:pt x="1702" y="2178"/>
                    <a:pt x="2013" y="2178"/>
                  </a:cubicBezTo>
                  <a:cubicBezTo>
                    <a:pt x="2169" y="2178"/>
                    <a:pt x="2313" y="2120"/>
                    <a:pt x="2433" y="2027"/>
                  </a:cubicBezTo>
                  <a:cubicBezTo>
                    <a:pt x="2525" y="2166"/>
                    <a:pt x="2729" y="2176"/>
                    <a:pt x="2783" y="2178"/>
                  </a:cubicBezTo>
                  <a:lnTo>
                    <a:pt x="3344" y="2178"/>
                  </a:lnTo>
                  <a:lnTo>
                    <a:pt x="3344" y="2178"/>
                  </a:lnTo>
                  <a:lnTo>
                    <a:pt x="3344" y="2178"/>
                  </a:lnTo>
                  <a:cubicBezTo>
                    <a:pt x="3718" y="2178"/>
                    <a:pt x="4062" y="1850"/>
                    <a:pt x="4126" y="1482"/>
                  </a:cubicBezTo>
                  <a:cubicBezTo>
                    <a:pt x="4171" y="1231"/>
                    <a:pt x="4046" y="1038"/>
                    <a:pt x="3763" y="1038"/>
                  </a:cubicBezTo>
                  <a:close/>
                  <a:moveTo>
                    <a:pt x="1191" y="1517"/>
                  </a:moveTo>
                  <a:lnTo>
                    <a:pt x="1191" y="1517"/>
                  </a:lnTo>
                  <a:cubicBezTo>
                    <a:pt x="1158" y="1703"/>
                    <a:pt x="931" y="2016"/>
                    <a:pt x="632" y="2016"/>
                  </a:cubicBezTo>
                  <a:cubicBezTo>
                    <a:pt x="576" y="2014"/>
                    <a:pt x="406" y="1980"/>
                    <a:pt x="512" y="1661"/>
                  </a:cubicBezTo>
                  <a:lnTo>
                    <a:pt x="704" y="1138"/>
                  </a:lnTo>
                  <a:lnTo>
                    <a:pt x="910" y="1138"/>
                  </a:lnTo>
                  <a:cubicBezTo>
                    <a:pt x="1154" y="1138"/>
                    <a:pt x="1223" y="1341"/>
                    <a:pt x="1191" y="1517"/>
                  </a:cubicBezTo>
                  <a:close/>
                  <a:moveTo>
                    <a:pt x="1785" y="529"/>
                  </a:moveTo>
                  <a:lnTo>
                    <a:pt x="1785" y="529"/>
                  </a:lnTo>
                  <a:cubicBezTo>
                    <a:pt x="1831" y="269"/>
                    <a:pt x="1599" y="3"/>
                    <a:pt x="1184" y="1"/>
                  </a:cubicBezTo>
                  <a:cubicBezTo>
                    <a:pt x="836" y="0"/>
                    <a:pt x="566" y="260"/>
                    <a:pt x="566" y="260"/>
                  </a:cubicBezTo>
                  <a:cubicBezTo>
                    <a:pt x="566" y="260"/>
                    <a:pt x="744" y="134"/>
                    <a:pt x="1030" y="161"/>
                  </a:cubicBezTo>
                  <a:cubicBezTo>
                    <a:pt x="1320" y="189"/>
                    <a:pt x="1475" y="377"/>
                    <a:pt x="1455" y="533"/>
                  </a:cubicBezTo>
                  <a:cubicBezTo>
                    <a:pt x="1418" y="822"/>
                    <a:pt x="1172" y="984"/>
                    <a:pt x="964" y="984"/>
                  </a:cubicBezTo>
                  <a:lnTo>
                    <a:pt x="761" y="984"/>
                  </a:lnTo>
                  <a:lnTo>
                    <a:pt x="917" y="563"/>
                  </a:lnTo>
                  <a:cubicBezTo>
                    <a:pt x="920" y="555"/>
                    <a:pt x="922" y="548"/>
                    <a:pt x="923" y="541"/>
                  </a:cubicBezTo>
                  <a:cubicBezTo>
                    <a:pt x="925" y="533"/>
                    <a:pt x="929" y="524"/>
                    <a:pt x="930" y="514"/>
                  </a:cubicBezTo>
                  <a:cubicBezTo>
                    <a:pt x="941" y="455"/>
                    <a:pt x="910" y="359"/>
                    <a:pt x="799" y="359"/>
                  </a:cubicBezTo>
                  <a:cubicBezTo>
                    <a:pt x="713" y="359"/>
                    <a:pt x="625" y="424"/>
                    <a:pt x="593" y="521"/>
                  </a:cubicBezTo>
                  <a:cubicBezTo>
                    <a:pt x="589" y="526"/>
                    <a:pt x="586" y="531"/>
                    <a:pt x="583" y="539"/>
                  </a:cubicBezTo>
                  <a:lnTo>
                    <a:pt x="195" y="1583"/>
                  </a:lnTo>
                  <a:cubicBezTo>
                    <a:pt x="0" y="2153"/>
                    <a:pt x="473" y="2182"/>
                    <a:pt x="560" y="2186"/>
                  </a:cubicBezTo>
                  <a:cubicBezTo>
                    <a:pt x="1316" y="2186"/>
                    <a:pt x="1539" y="1787"/>
                    <a:pt x="1586" y="1520"/>
                  </a:cubicBezTo>
                  <a:cubicBezTo>
                    <a:pt x="1602" y="1433"/>
                    <a:pt x="1617" y="1086"/>
                    <a:pt x="1252" y="1040"/>
                  </a:cubicBezTo>
                  <a:lnTo>
                    <a:pt x="1253" y="1034"/>
                  </a:lnTo>
                  <a:cubicBezTo>
                    <a:pt x="1483" y="987"/>
                    <a:pt x="1735" y="813"/>
                    <a:pt x="1785" y="529"/>
                  </a:cubicBezTo>
                  <a:close/>
                </a:path>
              </a:pathLst>
            </a:custGeom>
            <a:solidFill>
              <a:srgbClr val="0065BD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rt / title + subhead. / large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TCLayout.ActiveDocument.1">
                  <p:embed/>
                </p:oleObj>
              </mc:Choice>
              <mc:Fallback>
                <p:oleObj name="think-cell Slide" r:id="rId3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643439" y="2"/>
            <a:ext cx="4500562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2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6565" indent="0">
              <a:buNone/>
              <a:defRPr sz="1800"/>
            </a:lvl2pPr>
            <a:lvl3pPr marL="913765" indent="0">
              <a:buNone/>
              <a:defRPr sz="1600"/>
            </a:lvl3pPr>
            <a:lvl4pPr marL="1370330" indent="0">
              <a:buNone/>
              <a:defRPr sz="1400"/>
            </a:lvl4pPr>
            <a:lvl5pPr marL="1826895" indent="0">
              <a:buNone/>
              <a:defRPr sz="1400"/>
            </a:lvl5pPr>
            <a:lvl6pPr marL="2284095" indent="0">
              <a:buNone/>
              <a:defRPr sz="1400"/>
            </a:lvl6pPr>
            <a:lvl7pPr marL="2740660" indent="0">
              <a:buNone/>
              <a:defRPr sz="1400"/>
            </a:lvl7pPr>
            <a:lvl8pPr marL="3197225" indent="0">
              <a:buNone/>
              <a:defRPr sz="1400"/>
            </a:lvl8pPr>
            <a:lvl9pPr marL="3654425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pic>
        <p:nvPicPr>
          <p:cNvPr id="72" name="Grafik 71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 bwMode="gray">
          <a:xfrm>
            <a:off x="503239" y="340453"/>
            <a:ext cx="1800225" cy="68550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67543" y="1926059"/>
            <a:ext cx="4033020" cy="2070828"/>
          </a:xfrm>
        </p:spPr>
        <p:txBody>
          <a:bodyPr/>
          <a:lstStyle>
            <a:lvl1pPr>
              <a:defRPr sz="2995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/>
          <p:cNvSpPr/>
          <p:nvPr userDrawn="1"/>
        </p:nvSpPr>
        <p:spPr bwMode="gray">
          <a:xfrm>
            <a:off x="0" y="5022851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ultiline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-1030198" y="2895600"/>
            <a:ext cx="8424001" cy="3351213"/>
          </a:xfrm>
        </p:spPr>
        <p:txBody>
          <a:bodyPr/>
          <a:lstStyle>
            <a:lvl1pPr>
              <a:defRPr>
                <a:ea typeface="微软雅黑" panose="020B0503020204020204" pitchFamily="34" charset="-122"/>
              </a:defRPr>
            </a:lvl1pPr>
            <a:lvl2pPr>
              <a:defRPr>
                <a:ea typeface="微软雅黑" panose="020B0503020204020204" pitchFamily="34" charset="-122"/>
              </a:defRPr>
            </a:lvl2pPr>
            <a:lvl3pPr>
              <a:defRPr>
                <a:ea typeface="微软雅黑" panose="020B0503020204020204" pitchFamily="34" charset="-122"/>
              </a:defRPr>
            </a:lvl3pPr>
            <a:lvl4pPr>
              <a:defRPr>
                <a:ea typeface="微软雅黑" panose="020B0503020204020204" pitchFamily="34" charset="-122"/>
              </a:defRPr>
            </a:lvl4pPr>
            <a:lvl5pPr>
              <a:defRPr baseline="0">
                <a:ea typeface="微软雅黑" panose="020B0503020204020204" pitchFamily="34" charset="-122"/>
              </a:defRPr>
            </a:lvl5pPr>
            <a:lvl6pPr marL="568960" indent="-1905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/>
            </a:lvl6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200"/>
            <a:ext cx="6842812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 algn="l" defTabSz="653415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1460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6" y="1206501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first name last name | date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4"/>
          <p:cNvSpPr>
            <a:spLocks noGrp="1"/>
          </p:cNvSpPr>
          <p:nvPr>
            <p:ph sz="quarter" idx="13"/>
          </p:nvPr>
        </p:nvSpPr>
        <p:spPr>
          <a:xfrm>
            <a:off x="360003" y="1224000"/>
            <a:ext cx="8423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lan 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4"/>
          <p:cNvSpPr>
            <a:spLocks noGrp="1"/>
          </p:cNvSpPr>
          <p:nvPr>
            <p:ph sz="quarter" idx="13"/>
          </p:nvPr>
        </p:nvSpPr>
        <p:spPr>
          <a:xfrm>
            <a:off x="360003" y="1224000"/>
            <a:ext cx="8423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12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12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 altLang="zh-CN">
                <a:latin typeface="Arial" panose="020B0604020202020204" pitchFamily="34" charset="0"/>
              </a:rPr>
              <a:t>Title of presentation | first name last name | date</a:t>
            </a:r>
            <a:endParaRPr lang="en-GB" altLang="zh-CN" dirty="0">
              <a:latin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6486717" y="226511"/>
            <a:ext cx="1117602" cy="718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none" lIns="108000" tIns="36000" rIns="36000" bIns="54000" rtlCol="0" anchor="ctr">
            <a:noAutofit/>
          </a:bodyPr>
          <a:lstStyle/>
          <a:p>
            <a:pPr algn="ctr"/>
            <a:endParaRPr lang="de-DE" sz="1400" b="1" dirty="0">
              <a:solidFill>
                <a:srgbClr val="383633"/>
              </a:solidFill>
              <a:latin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num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idx="1" hasCustomPrompt="1"/>
          </p:nvPr>
        </p:nvSpPr>
        <p:spPr>
          <a:xfrm>
            <a:off x="360004" y="1224000"/>
            <a:ext cx="8423999" cy="33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42900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42900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683895" indent="-342900"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rabicPeriod"/>
              <a:defRPr lang="de-DE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Arial" panose="020B0604020202020204"/>
              </a:defRPr>
            </a:lvl3pPr>
            <a:lvl4pPr marL="683895" indent="-342900"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lphaLcPeriod"/>
              <a:defRPr lang="de-DE" sz="1600" b="0" dirty="0">
                <a:solidFill>
                  <a:schemeClr val="tx1"/>
                </a:solidFill>
                <a:latin typeface="微软雅黑" panose="020B0503020204020204" pitchFamily="34" charset="-122"/>
                <a:ea typeface="Arial" panose="020B0604020202020204"/>
              </a:defRPr>
            </a:lvl4pPr>
            <a:lvl5pPr marL="683895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  <a:lvl6pPr marL="340995" marR="0" indent="0" algn="l" defTabSz="87185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+mj-lt"/>
              <a:buAutoNum type="arabicPeriod" startAt="2"/>
              <a:defRPr sz="1400">
                <a:solidFill>
                  <a:schemeClr val="tx1"/>
                </a:solidFill>
              </a:defRPr>
            </a:lvl6pPr>
            <a:lvl7pPr marL="847090" indent="0">
              <a:buFont typeface="+mj-lt"/>
              <a:buAutoNum type="arabicPeriod"/>
              <a:defRPr/>
            </a:lvl7pPr>
            <a:lvl8pPr marL="847090" indent="-342900">
              <a:buFont typeface="+mj-lt"/>
              <a:buAutoNum type="arabicPeriod"/>
              <a:defRPr/>
            </a:lvl8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marL="683895" lvl="4" indent="-342900" algn="l" defTabSz="871855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de-DE" dirty="0"/>
              <a:t>Fünfte Ebene</a:t>
            </a:r>
          </a:p>
          <a:p>
            <a:pPr marL="683895" lvl="5" indent="-342900" algn="l" defTabSz="871855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100000"/>
              <a:buFont typeface="+mj-lt"/>
              <a:buAutoNum type="alphaLcPeriod"/>
            </a:pPr>
            <a:r>
              <a:rPr lang="de-DE" dirty="0"/>
              <a:t>Sechs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ea typeface="微软雅黑" panose="020B0503020204020204" pitchFamily="34" charset="-122"/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95" indent="0">
              <a:buFontTx/>
              <a:buNone/>
              <a:defRPr sz="1600" b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GB">
                <a:latin typeface="Arial" panose="020B0604020202020204" pitchFamily="34" charset="0"/>
              </a:rPr>
              <a:t>Title of presentation | first name last name | dat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6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5" imgW="8255" imgH="8255" progId="TCLayout.ActiveDocument.1">
                  <p:embed/>
                </p:oleObj>
              </mc:Choice>
              <mc:Fallback>
                <p:oleObj name="think-cell Folie" r:id="rId65" imgW="8255" imgH="8255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" name="Gerader Verbinder 35"/>
          <p:cNvCxnSpPr/>
          <p:nvPr/>
        </p:nvCxnSpPr>
        <p:spPr bwMode="auto">
          <a:xfrm>
            <a:off x="358775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r Verbinder 36"/>
          <p:cNvCxnSpPr/>
          <p:nvPr/>
        </p:nvCxnSpPr>
        <p:spPr bwMode="auto">
          <a:xfrm>
            <a:off x="733425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r Verbinder 37"/>
          <p:cNvCxnSpPr/>
          <p:nvPr/>
        </p:nvCxnSpPr>
        <p:spPr bwMode="auto">
          <a:xfrm>
            <a:off x="4571781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/>
          <p:cNvCxnSpPr/>
          <p:nvPr/>
        </p:nvCxnSpPr>
        <p:spPr bwMode="auto">
          <a:xfrm>
            <a:off x="4713448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r Verbinder 39"/>
          <p:cNvCxnSpPr/>
          <p:nvPr/>
        </p:nvCxnSpPr>
        <p:spPr bwMode="auto">
          <a:xfrm>
            <a:off x="8783638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r Verbinder 40"/>
          <p:cNvCxnSpPr/>
          <p:nvPr/>
        </p:nvCxnSpPr>
        <p:spPr bwMode="auto">
          <a:xfrm>
            <a:off x="9180061" y="449263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r Verbinder 41"/>
          <p:cNvCxnSpPr/>
          <p:nvPr/>
        </p:nvCxnSpPr>
        <p:spPr bwMode="auto">
          <a:xfrm>
            <a:off x="9180061" y="665628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/>
          <p:cNvCxnSpPr/>
          <p:nvPr/>
        </p:nvCxnSpPr>
        <p:spPr bwMode="auto">
          <a:xfrm>
            <a:off x="9180061" y="884569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r Verbinder 43"/>
          <p:cNvCxnSpPr/>
          <p:nvPr/>
        </p:nvCxnSpPr>
        <p:spPr bwMode="auto">
          <a:xfrm>
            <a:off x="9180061" y="1219419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r Verbinder 44"/>
          <p:cNvCxnSpPr/>
          <p:nvPr/>
        </p:nvCxnSpPr>
        <p:spPr bwMode="auto">
          <a:xfrm>
            <a:off x="9180061" y="2574277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r Verbinder 45"/>
          <p:cNvCxnSpPr/>
          <p:nvPr/>
        </p:nvCxnSpPr>
        <p:spPr bwMode="auto">
          <a:xfrm>
            <a:off x="9180061" y="4754371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r Verbinder 46"/>
          <p:cNvCxnSpPr/>
          <p:nvPr/>
        </p:nvCxnSpPr>
        <p:spPr bwMode="auto">
          <a:xfrm>
            <a:off x="9180061" y="4568915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r Verbinder 47"/>
          <p:cNvCxnSpPr/>
          <p:nvPr/>
        </p:nvCxnSpPr>
        <p:spPr bwMode="auto">
          <a:xfrm>
            <a:off x="9180061" y="4956655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r Verbinder 48"/>
          <p:cNvCxnSpPr/>
          <p:nvPr/>
        </p:nvCxnSpPr>
        <p:spPr bwMode="auto">
          <a:xfrm>
            <a:off x="-148666" y="449263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r Verbinder 49"/>
          <p:cNvCxnSpPr/>
          <p:nvPr/>
        </p:nvCxnSpPr>
        <p:spPr bwMode="auto">
          <a:xfrm>
            <a:off x="-148666" y="665628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r Verbinder 50"/>
          <p:cNvCxnSpPr/>
          <p:nvPr/>
        </p:nvCxnSpPr>
        <p:spPr bwMode="auto">
          <a:xfrm>
            <a:off x="-148666" y="884569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r Verbinder 51"/>
          <p:cNvCxnSpPr/>
          <p:nvPr/>
        </p:nvCxnSpPr>
        <p:spPr bwMode="auto">
          <a:xfrm>
            <a:off x="-148666" y="1219419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r Verbinder 52"/>
          <p:cNvCxnSpPr/>
          <p:nvPr/>
        </p:nvCxnSpPr>
        <p:spPr bwMode="auto">
          <a:xfrm>
            <a:off x="-148666" y="2574277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r Verbinder 53"/>
          <p:cNvCxnSpPr/>
          <p:nvPr/>
        </p:nvCxnSpPr>
        <p:spPr bwMode="auto">
          <a:xfrm>
            <a:off x="-148666" y="4754371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r Verbinder 54"/>
          <p:cNvCxnSpPr/>
          <p:nvPr/>
        </p:nvCxnSpPr>
        <p:spPr bwMode="auto">
          <a:xfrm>
            <a:off x="-148666" y="4568915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r Verbinder 55"/>
          <p:cNvCxnSpPr/>
          <p:nvPr/>
        </p:nvCxnSpPr>
        <p:spPr bwMode="auto">
          <a:xfrm>
            <a:off x="-148666" y="4956655"/>
            <a:ext cx="103031" cy="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r Verbinder 56"/>
          <p:cNvCxnSpPr/>
          <p:nvPr/>
        </p:nvCxnSpPr>
        <p:spPr bwMode="auto">
          <a:xfrm>
            <a:off x="358775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r Verbinder 57"/>
          <p:cNvCxnSpPr/>
          <p:nvPr/>
        </p:nvCxnSpPr>
        <p:spPr bwMode="auto">
          <a:xfrm>
            <a:off x="733425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r Verbinder 58"/>
          <p:cNvCxnSpPr/>
          <p:nvPr/>
        </p:nvCxnSpPr>
        <p:spPr bwMode="auto">
          <a:xfrm>
            <a:off x="4571781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r Verbinder 59"/>
          <p:cNvCxnSpPr/>
          <p:nvPr/>
        </p:nvCxnSpPr>
        <p:spPr bwMode="auto">
          <a:xfrm>
            <a:off x="4713448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r Verbinder 60"/>
          <p:cNvCxnSpPr/>
          <p:nvPr/>
        </p:nvCxnSpPr>
        <p:spPr bwMode="auto">
          <a:xfrm>
            <a:off x="8783638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r Verbinder 61"/>
          <p:cNvCxnSpPr/>
          <p:nvPr/>
        </p:nvCxnSpPr>
        <p:spPr bwMode="auto">
          <a:xfrm>
            <a:off x="4430291" y="-110758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r Verbinder 62"/>
          <p:cNvCxnSpPr/>
          <p:nvPr/>
        </p:nvCxnSpPr>
        <p:spPr bwMode="auto">
          <a:xfrm>
            <a:off x="4430291" y="5169205"/>
            <a:ext cx="0" cy="85000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l" defTabSz="841375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75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panose="020B0604030504040204" charset="0"/>
                <a:ea typeface="Arial" panose="020B0604020202020204"/>
                <a:cs typeface="+mn-cs"/>
              </a:defRPr>
            </a:lvl1pPr>
          </a:lstStyle>
          <a:p>
            <a:r>
              <a:rPr lang="en-US">
                <a:latin typeface="Arial" panose="020B0604020202020204" pitchFamily="34" charset="0"/>
              </a:rPr>
              <a:t>Title of presentation | first name last name | date</a:t>
            </a:r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200"/>
            <a:ext cx="6842812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 algn="l" defTabSz="653415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endParaRPr lang="en-GB" noProof="0" dirty="0"/>
          </a:p>
        </p:txBody>
      </p:sp>
      <p:sp>
        <p:nvSpPr>
          <p:cNvPr id="68" name="Line 351"/>
          <p:cNvSpPr>
            <a:spLocks noChangeShapeType="1"/>
          </p:cNvSpPr>
          <p:nvPr/>
        </p:nvSpPr>
        <p:spPr bwMode="gray">
          <a:xfrm>
            <a:off x="360000" y="1044000"/>
            <a:ext cx="8424000" cy="0"/>
          </a:xfrm>
          <a:prstGeom prst="line">
            <a:avLst/>
          </a:prstGeom>
          <a:noFill/>
          <a:ln w="12700" cmpd="sng">
            <a:solidFill>
              <a:schemeClr val="bg2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en-GB" sz="1800" noProof="0">
              <a:latin typeface="Arial" panose="020B0604020202020204"/>
            </a:endParaRPr>
          </a:p>
        </p:txBody>
      </p:sp>
      <p:sp>
        <p:nvSpPr>
          <p:cNvPr id="69" name="Line 351"/>
          <p:cNvSpPr>
            <a:spLocks noChangeShapeType="1"/>
          </p:cNvSpPr>
          <p:nvPr/>
        </p:nvSpPr>
        <p:spPr bwMode="gray">
          <a:xfrm>
            <a:off x="360000" y="4752000"/>
            <a:ext cx="8424000" cy="0"/>
          </a:xfrm>
          <a:prstGeom prst="line">
            <a:avLst/>
          </a:prstGeom>
          <a:noFill/>
          <a:ln w="12700" cmpd="sng">
            <a:solidFill>
              <a:schemeClr val="bg2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en-GB" sz="1800" noProof="0">
              <a:latin typeface="Arial" panose="020B0604020202020204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358775" y="1219200"/>
            <a:ext cx="8426449" cy="3349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grpSp>
        <p:nvGrpSpPr>
          <p:cNvPr id="78" name="Group 4"/>
          <p:cNvGrpSpPr>
            <a:grpSpLocks noChangeAspect="1"/>
          </p:cNvGrpSpPr>
          <p:nvPr userDrawn="1"/>
        </p:nvGrpSpPr>
        <p:grpSpPr bwMode="auto">
          <a:xfrm>
            <a:off x="7517247" y="227066"/>
            <a:ext cx="1345230" cy="698131"/>
            <a:chOff x="4874" y="291"/>
            <a:chExt cx="659" cy="342"/>
          </a:xfrm>
        </p:grpSpPr>
        <p:sp>
          <p:nvSpPr>
            <p:cNvPr id="7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74" y="291"/>
              <a:ext cx="659" cy="342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80" name="Freeform 5"/>
            <p:cNvSpPr/>
            <p:nvPr userDrawn="1"/>
          </p:nvSpPr>
          <p:spPr bwMode="auto">
            <a:xfrm>
              <a:off x="4874" y="291"/>
              <a:ext cx="660" cy="343"/>
            </a:xfrm>
            <a:custGeom>
              <a:avLst/>
              <a:gdLst>
                <a:gd name="T0" fmla="*/ 4048 w 8097"/>
                <a:gd name="T1" fmla="*/ 0 h 4204"/>
                <a:gd name="T2" fmla="*/ 4048 w 8097"/>
                <a:gd name="T3" fmla="*/ 0 h 4204"/>
                <a:gd name="T4" fmla="*/ 2040 w 8097"/>
                <a:gd name="T5" fmla="*/ 276 h 4204"/>
                <a:gd name="T6" fmla="*/ 3708 w 8097"/>
                <a:gd name="T7" fmla="*/ 70 h 4204"/>
                <a:gd name="T8" fmla="*/ 7413 w 8097"/>
                <a:gd name="T9" fmla="*/ 1993 h 4204"/>
                <a:gd name="T10" fmla="*/ 3708 w 8097"/>
                <a:gd name="T11" fmla="*/ 3916 h 4204"/>
                <a:gd name="T12" fmla="*/ 4 w 8097"/>
                <a:gd name="T13" fmla="*/ 1996 h 4204"/>
                <a:gd name="T14" fmla="*/ 0 w 8097"/>
                <a:gd name="T15" fmla="*/ 2101 h 4204"/>
                <a:gd name="T16" fmla="*/ 4048 w 8097"/>
                <a:gd name="T17" fmla="*/ 4204 h 4204"/>
                <a:gd name="T18" fmla="*/ 8097 w 8097"/>
                <a:gd name="T19" fmla="*/ 2101 h 4204"/>
                <a:gd name="T20" fmla="*/ 4048 w 8097"/>
                <a:gd name="T21" fmla="*/ 0 h 4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97" h="4204">
                  <a:moveTo>
                    <a:pt x="4048" y="0"/>
                  </a:moveTo>
                  <a:lnTo>
                    <a:pt x="4048" y="0"/>
                  </a:lnTo>
                  <a:cubicBezTo>
                    <a:pt x="3317" y="0"/>
                    <a:pt x="2632" y="100"/>
                    <a:pt x="2040" y="276"/>
                  </a:cubicBezTo>
                  <a:cubicBezTo>
                    <a:pt x="2542" y="145"/>
                    <a:pt x="3108" y="70"/>
                    <a:pt x="3708" y="70"/>
                  </a:cubicBezTo>
                  <a:cubicBezTo>
                    <a:pt x="5754" y="70"/>
                    <a:pt x="7413" y="931"/>
                    <a:pt x="7413" y="1993"/>
                  </a:cubicBezTo>
                  <a:cubicBezTo>
                    <a:pt x="7413" y="3056"/>
                    <a:pt x="5754" y="3916"/>
                    <a:pt x="3708" y="3916"/>
                  </a:cubicBezTo>
                  <a:cubicBezTo>
                    <a:pt x="1665" y="3916"/>
                    <a:pt x="7" y="3057"/>
                    <a:pt x="4" y="1996"/>
                  </a:cubicBezTo>
                  <a:cubicBezTo>
                    <a:pt x="0" y="2031"/>
                    <a:pt x="0" y="2066"/>
                    <a:pt x="0" y="2101"/>
                  </a:cubicBezTo>
                  <a:cubicBezTo>
                    <a:pt x="0" y="3262"/>
                    <a:pt x="1812" y="4204"/>
                    <a:pt x="4048" y="4204"/>
                  </a:cubicBezTo>
                  <a:cubicBezTo>
                    <a:pt x="6284" y="4204"/>
                    <a:pt x="8097" y="3262"/>
                    <a:pt x="8097" y="2101"/>
                  </a:cubicBezTo>
                  <a:cubicBezTo>
                    <a:pt x="8097" y="940"/>
                    <a:pt x="6284" y="0"/>
                    <a:pt x="4048" y="0"/>
                  </a:cubicBezTo>
                  <a:close/>
                </a:path>
              </a:pathLst>
            </a:custGeom>
            <a:solidFill>
              <a:srgbClr val="263F6A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sp>
          <p:nvSpPr>
            <p:cNvPr id="81" name="Freeform 6"/>
            <p:cNvSpPr>
              <a:spLocks noEditPoints="1"/>
            </p:cNvSpPr>
            <p:nvPr userDrawn="1"/>
          </p:nvSpPr>
          <p:spPr bwMode="auto">
            <a:xfrm>
              <a:off x="4924" y="345"/>
              <a:ext cx="468" cy="178"/>
            </a:xfrm>
            <a:custGeom>
              <a:avLst/>
              <a:gdLst>
                <a:gd name="T0" fmla="*/ 5592 w 5735"/>
                <a:gd name="T1" fmla="*/ 546 h 2186"/>
                <a:gd name="T2" fmla="*/ 5503 w 5735"/>
                <a:gd name="T3" fmla="*/ 903 h 2186"/>
                <a:gd name="T4" fmla="*/ 5592 w 5735"/>
                <a:gd name="T5" fmla="*/ 546 h 2186"/>
                <a:gd name="T6" fmla="*/ 5549 w 5735"/>
                <a:gd name="T7" fmla="*/ 1064 h 2186"/>
                <a:gd name="T8" fmla="*/ 5283 w 5735"/>
                <a:gd name="T9" fmla="*/ 1095 h 2186"/>
                <a:gd name="T10" fmla="*/ 4931 w 5735"/>
                <a:gd name="T11" fmla="*/ 2181 h 2186"/>
                <a:gd name="T12" fmla="*/ 5197 w 5735"/>
                <a:gd name="T13" fmla="*/ 2151 h 2186"/>
                <a:gd name="T14" fmla="*/ 5549 w 5735"/>
                <a:gd name="T15" fmla="*/ 1064 h 2186"/>
                <a:gd name="T16" fmla="*/ 4892 w 5735"/>
                <a:gd name="T17" fmla="*/ 607 h 2186"/>
                <a:gd name="T18" fmla="*/ 4648 w 5735"/>
                <a:gd name="T19" fmla="*/ 552 h 2186"/>
                <a:gd name="T20" fmla="*/ 4516 w 5735"/>
                <a:gd name="T21" fmla="*/ 811 h 2186"/>
                <a:gd name="T22" fmla="*/ 4551 w 5735"/>
                <a:gd name="T23" fmla="*/ 2181 h 2186"/>
                <a:gd name="T24" fmla="*/ 4796 w 5735"/>
                <a:gd name="T25" fmla="*/ 2149 h 2186"/>
                <a:gd name="T26" fmla="*/ 4818 w 5735"/>
                <a:gd name="T27" fmla="*/ 2008 h 2186"/>
                <a:gd name="T28" fmla="*/ 4502 w 5735"/>
                <a:gd name="T29" fmla="*/ 1661 h 2186"/>
                <a:gd name="T30" fmla="*/ 3823 w 5735"/>
                <a:gd name="T31" fmla="*/ 1430 h 2186"/>
                <a:gd name="T32" fmla="*/ 3418 w 5735"/>
                <a:gd name="T33" fmla="*/ 2041 h 2186"/>
                <a:gd name="T34" fmla="*/ 3684 w 5735"/>
                <a:gd name="T35" fmla="*/ 1175 h 2186"/>
                <a:gd name="T36" fmla="*/ 2492 w 5735"/>
                <a:gd name="T37" fmla="*/ 1430 h 2186"/>
                <a:gd name="T38" fmla="*/ 2447 w 5735"/>
                <a:gd name="T39" fmla="*/ 1601 h 2186"/>
                <a:gd name="T40" fmla="*/ 2088 w 5735"/>
                <a:gd name="T41" fmla="*/ 2041 h 2186"/>
                <a:gd name="T42" fmla="*/ 2353 w 5735"/>
                <a:gd name="T43" fmla="*/ 1175 h 2186"/>
                <a:gd name="T44" fmla="*/ 3763 w 5735"/>
                <a:gd name="T45" fmla="*/ 1038 h 2186"/>
                <a:gd name="T46" fmla="*/ 2967 w 5735"/>
                <a:gd name="T47" fmla="*/ 1740 h 2186"/>
                <a:gd name="T48" fmla="*/ 2859 w 5735"/>
                <a:gd name="T49" fmla="*/ 2046 h 2186"/>
                <a:gd name="T50" fmla="*/ 2953 w 5735"/>
                <a:gd name="T51" fmla="*/ 1114 h 2186"/>
                <a:gd name="T52" fmla="*/ 2724 w 5735"/>
                <a:gd name="T53" fmla="*/ 1059 h 2186"/>
                <a:gd name="T54" fmla="*/ 2667 w 5735"/>
                <a:gd name="T55" fmla="*/ 1109 h 2186"/>
                <a:gd name="T56" fmla="*/ 1635 w 5735"/>
                <a:gd name="T57" fmla="*/ 1740 h 2186"/>
                <a:gd name="T58" fmla="*/ 2433 w 5735"/>
                <a:gd name="T59" fmla="*/ 2027 h 2186"/>
                <a:gd name="T60" fmla="*/ 3344 w 5735"/>
                <a:gd name="T61" fmla="*/ 2178 h 2186"/>
                <a:gd name="T62" fmla="*/ 3344 w 5735"/>
                <a:gd name="T63" fmla="*/ 2178 h 2186"/>
                <a:gd name="T64" fmla="*/ 3763 w 5735"/>
                <a:gd name="T65" fmla="*/ 1038 h 2186"/>
                <a:gd name="T66" fmla="*/ 1191 w 5735"/>
                <a:gd name="T67" fmla="*/ 1517 h 2186"/>
                <a:gd name="T68" fmla="*/ 512 w 5735"/>
                <a:gd name="T69" fmla="*/ 1661 h 2186"/>
                <a:gd name="T70" fmla="*/ 910 w 5735"/>
                <a:gd name="T71" fmla="*/ 1138 h 2186"/>
                <a:gd name="T72" fmla="*/ 1785 w 5735"/>
                <a:gd name="T73" fmla="*/ 529 h 2186"/>
                <a:gd name="T74" fmla="*/ 1184 w 5735"/>
                <a:gd name="T75" fmla="*/ 1 h 2186"/>
                <a:gd name="T76" fmla="*/ 1030 w 5735"/>
                <a:gd name="T77" fmla="*/ 161 h 2186"/>
                <a:gd name="T78" fmla="*/ 964 w 5735"/>
                <a:gd name="T79" fmla="*/ 984 h 2186"/>
                <a:gd name="T80" fmla="*/ 917 w 5735"/>
                <a:gd name="T81" fmla="*/ 563 h 2186"/>
                <a:gd name="T82" fmla="*/ 930 w 5735"/>
                <a:gd name="T83" fmla="*/ 514 h 2186"/>
                <a:gd name="T84" fmla="*/ 593 w 5735"/>
                <a:gd name="T85" fmla="*/ 521 h 2186"/>
                <a:gd name="T86" fmla="*/ 195 w 5735"/>
                <a:gd name="T87" fmla="*/ 1583 h 2186"/>
                <a:gd name="T88" fmla="*/ 1586 w 5735"/>
                <a:gd name="T89" fmla="*/ 1520 h 2186"/>
                <a:gd name="T90" fmla="*/ 1253 w 5735"/>
                <a:gd name="T91" fmla="*/ 1034 h 2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35" h="2186">
                  <a:moveTo>
                    <a:pt x="5592" y="546"/>
                  </a:moveTo>
                  <a:lnTo>
                    <a:pt x="5592" y="546"/>
                  </a:lnTo>
                  <a:cubicBezTo>
                    <a:pt x="5497" y="546"/>
                    <a:pt x="5398" y="627"/>
                    <a:pt x="5377" y="742"/>
                  </a:cubicBezTo>
                  <a:cubicBezTo>
                    <a:pt x="5364" y="816"/>
                    <a:pt x="5397" y="903"/>
                    <a:pt x="5503" y="903"/>
                  </a:cubicBezTo>
                  <a:cubicBezTo>
                    <a:pt x="5595" y="903"/>
                    <a:pt x="5699" y="836"/>
                    <a:pt x="5723" y="701"/>
                  </a:cubicBezTo>
                  <a:cubicBezTo>
                    <a:pt x="5735" y="642"/>
                    <a:pt x="5703" y="546"/>
                    <a:pt x="5592" y="546"/>
                  </a:cubicBezTo>
                  <a:close/>
                  <a:moveTo>
                    <a:pt x="5549" y="1064"/>
                  </a:moveTo>
                  <a:lnTo>
                    <a:pt x="5549" y="1064"/>
                  </a:lnTo>
                  <a:lnTo>
                    <a:pt x="5330" y="1064"/>
                  </a:lnTo>
                  <a:cubicBezTo>
                    <a:pt x="5297" y="1064"/>
                    <a:pt x="5291" y="1075"/>
                    <a:pt x="5283" y="1095"/>
                  </a:cubicBezTo>
                  <a:cubicBezTo>
                    <a:pt x="5125" y="1524"/>
                    <a:pt x="4951" y="1999"/>
                    <a:pt x="4900" y="2138"/>
                  </a:cubicBezTo>
                  <a:cubicBezTo>
                    <a:pt x="4885" y="2184"/>
                    <a:pt x="4908" y="2181"/>
                    <a:pt x="4931" y="2181"/>
                  </a:cubicBezTo>
                  <a:lnTo>
                    <a:pt x="5149" y="2181"/>
                  </a:lnTo>
                  <a:cubicBezTo>
                    <a:pt x="5188" y="2180"/>
                    <a:pt x="5193" y="2161"/>
                    <a:pt x="5197" y="2151"/>
                  </a:cubicBezTo>
                  <a:lnTo>
                    <a:pt x="5580" y="1107"/>
                  </a:lnTo>
                  <a:cubicBezTo>
                    <a:pt x="5597" y="1062"/>
                    <a:pt x="5570" y="1064"/>
                    <a:pt x="5549" y="1064"/>
                  </a:cubicBezTo>
                  <a:close/>
                  <a:moveTo>
                    <a:pt x="4892" y="607"/>
                  </a:moveTo>
                  <a:lnTo>
                    <a:pt x="4892" y="607"/>
                  </a:lnTo>
                  <a:cubicBezTo>
                    <a:pt x="4907" y="560"/>
                    <a:pt x="4892" y="552"/>
                    <a:pt x="4854" y="552"/>
                  </a:cubicBezTo>
                  <a:lnTo>
                    <a:pt x="4648" y="552"/>
                  </a:lnTo>
                  <a:cubicBezTo>
                    <a:pt x="4616" y="552"/>
                    <a:pt x="4610" y="563"/>
                    <a:pt x="4602" y="583"/>
                  </a:cubicBezTo>
                  <a:cubicBezTo>
                    <a:pt x="4602" y="583"/>
                    <a:pt x="4553" y="711"/>
                    <a:pt x="4516" y="811"/>
                  </a:cubicBezTo>
                  <a:lnTo>
                    <a:pt x="4231" y="1583"/>
                  </a:lnTo>
                  <a:cubicBezTo>
                    <a:pt x="4036" y="2153"/>
                    <a:pt x="4465" y="2176"/>
                    <a:pt x="4551" y="2181"/>
                  </a:cubicBezTo>
                  <a:lnTo>
                    <a:pt x="4740" y="2181"/>
                  </a:lnTo>
                  <a:cubicBezTo>
                    <a:pt x="4740" y="2181"/>
                    <a:pt x="4782" y="2184"/>
                    <a:pt x="4796" y="2149"/>
                  </a:cubicBezTo>
                  <a:cubicBezTo>
                    <a:pt x="4813" y="2105"/>
                    <a:pt x="4836" y="2043"/>
                    <a:pt x="4836" y="2043"/>
                  </a:cubicBezTo>
                  <a:cubicBezTo>
                    <a:pt x="4836" y="2043"/>
                    <a:pt x="4858" y="1992"/>
                    <a:pt x="4818" y="2008"/>
                  </a:cubicBezTo>
                  <a:cubicBezTo>
                    <a:pt x="4772" y="2025"/>
                    <a:pt x="4690" y="2048"/>
                    <a:pt x="4618" y="2046"/>
                  </a:cubicBezTo>
                  <a:cubicBezTo>
                    <a:pt x="4561" y="2046"/>
                    <a:pt x="4398" y="1980"/>
                    <a:pt x="4502" y="1661"/>
                  </a:cubicBezTo>
                  <a:lnTo>
                    <a:pt x="4892" y="607"/>
                  </a:lnTo>
                  <a:close/>
                  <a:moveTo>
                    <a:pt x="3823" y="1430"/>
                  </a:moveTo>
                  <a:lnTo>
                    <a:pt x="3823" y="1430"/>
                  </a:lnTo>
                  <a:cubicBezTo>
                    <a:pt x="3780" y="1671"/>
                    <a:pt x="3623" y="2041"/>
                    <a:pt x="3418" y="2041"/>
                  </a:cubicBezTo>
                  <a:cubicBezTo>
                    <a:pt x="3279" y="2041"/>
                    <a:pt x="3252" y="1897"/>
                    <a:pt x="3282" y="1728"/>
                  </a:cubicBezTo>
                  <a:cubicBezTo>
                    <a:pt x="3334" y="1434"/>
                    <a:pt x="3534" y="1175"/>
                    <a:pt x="3684" y="1175"/>
                  </a:cubicBezTo>
                  <a:cubicBezTo>
                    <a:pt x="3799" y="1175"/>
                    <a:pt x="3851" y="1267"/>
                    <a:pt x="3823" y="1430"/>
                  </a:cubicBezTo>
                  <a:close/>
                  <a:moveTo>
                    <a:pt x="2492" y="1430"/>
                  </a:moveTo>
                  <a:lnTo>
                    <a:pt x="2492" y="1430"/>
                  </a:lnTo>
                  <a:cubicBezTo>
                    <a:pt x="2482" y="1483"/>
                    <a:pt x="2467" y="1542"/>
                    <a:pt x="2447" y="1601"/>
                  </a:cubicBezTo>
                  <a:cubicBezTo>
                    <a:pt x="2435" y="1632"/>
                    <a:pt x="2425" y="1662"/>
                    <a:pt x="2415" y="1690"/>
                  </a:cubicBezTo>
                  <a:cubicBezTo>
                    <a:pt x="2342" y="1873"/>
                    <a:pt x="2225" y="2041"/>
                    <a:pt x="2088" y="2041"/>
                  </a:cubicBezTo>
                  <a:cubicBezTo>
                    <a:pt x="1948" y="2041"/>
                    <a:pt x="1921" y="1897"/>
                    <a:pt x="1951" y="1728"/>
                  </a:cubicBezTo>
                  <a:cubicBezTo>
                    <a:pt x="2004" y="1434"/>
                    <a:pt x="2203" y="1175"/>
                    <a:pt x="2353" y="1175"/>
                  </a:cubicBezTo>
                  <a:cubicBezTo>
                    <a:pt x="2469" y="1175"/>
                    <a:pt x="2520" y="1267"/>
                    <a:pt x="2492" y="1430"/>
                  </a:cubicBezTo>
                  <a:close/>
                  <a:moveTo>
                    <a:pt x="3763" y="1038"/>
                  </a:moveTo>
                  <a:lnTo>
                    <a:pt x="3763" y="1038"/>
                  </a:lnTo>
                  <a:cubicBezTo>
                    <a:pt x="3408" y="1038"/>
                    <a:pt x="3041" y="1314"/>
                    <a:pt x="2967" y="1740"/>
                  </a:cubicBezTo>
                  <a:cubicBezTo>
                    <a:pt x="2949" y="1843"/>
                    <a:pt x="2961" y="1944"/>
                    <a:pt x="3011" y="2023"/>
                  </a:cubicBezTo>
                  <a:cubicBezTo>
                    <a:pt x="2965" y="2036"/>
                    <a:pt x="2909" y="2048"/>
                    <a:pt x="2859" y="2046"/>
                  </a:cubicBezTo>
                  <a:cubicBezTo>
                    <a:pt x="2803" y="2046"/>
                    <a:pt x="2580" y="1980"/>
                    <a:pt x="2713" y="1661"/>
                  </a:cubicBezTo>
                  <a:lnTo>
                    <a:pt x="2953" y="1114"/>
                  </a:lnTo>
                  <a:cubicBezTo>
                    <a:pt x="2974" y="1068"/>
                    <a:pt x="2958" y="1059"/>
                    <a:pt x="2919" y="1059"/>
                  </a:cubicBezTo>
                  <a:lnTo>
                    <a:pt x="2724" y="1059"/>
                  </a:lnTo>
                  <a:cubicBezTo>
                    <a:pt x="2692" y="1059"/>
                    <a:pt x="2685" y="1070"/>
                    <a:pt x="2675" y="1090"/>
                  </a:cubicBezTo>
                  <a:lnTo>
                    <a:pt x="2667" y="1109"/>
                  </a:lnTo>
                  <a:cubicBezTo>
                    <a:pt x="2613" y="1064"/>
                    <a:pt x="2536" y="1038"/>
                    <a:pt x="2432" y="1038"/>
                  </a:cubicBezTo>
                  <a:cubicBezTo>
                    <a:pt x="2078" y="1038"/>
                    <a:pt x="1711" y="1314"/>
                    <a:pt x="1635" y="1740"/>
                  </a:cubicBezTo>
                  <a:cubicBezTo>
                    <a:pt x="1596" y="1963"/>
                    <a:pt x="1702" y="2178"/>
                    <a:pt x="2013" y="2178"/>
                  </a:cubicBezTo>
                  <a:cubicBezTo>
                    <a:pt x="2169" y="2178"/>
                    <a:pt x="2313" y="2120"/>
                    <a:pt x="2433" y="2027"/>
                  </a:cubicBezTo>
                  <a:cubicBezTo>
                    <a:pt x="2525" y="2166"/>
                    <a:pt x="2729" y="2176"/>
                    <a:pt x="2783" y="2178"/>
                  </a:cubicBezTo>
                  <a:lnTo>
                    <a:pt x="3344" y="2178"/>
                  </a:lnTo>
                  <a:lnTo>
                    <a:pt x="3344" y="2178"/>
                  </a:lnTo>
                  <a:lnTo>
                    <a:pt x="3344" y="2178"/>
                  </a:lnTo>
                  <a:cubicBezTo>
                    <a:pt x="3718" y="2178"/>
                    <a:pt x="4062" y="1850"/>
                    <a:pt x="4126" y="1482"/>
                  </a:cubicBezTo>
                  <a:cubicBezTo>
                    <a:pt x="4171" y="1231"/>
                    <a:pt x="4046" y="1038"/>
                    <a:pt x="3763" y="1038"/>
                  </a:cubicBezTo>
                  <a:close/>
                  <a:moveTo>
                    <a:pt x="1191" y="1517"/>
                  </a:moveTo>
                  <a:lnTo>
                    <a:pt x="1191" y="1517"/>
                  </a:lnTo>
                  <a:cubicBezTo>
                    <a:pt x="1158" y="1703"/>
                    <a:pt x="931" y="2016"/>
                    <a:pt x="632" y="2016"/>
                  </a:cubicBezTo>
                  <a:cubicBezTo>
                    <a:pt x="576" y="2014"/>
                    <a:pt x="406" y="1980"/>
                    <a:pt x="512" y="1661"/>
                  </a:cubicBezTo>
                  <a:lnTo>
                    <a:pt x="704" y="1138"/>
                  </a:lnTo>
                  <a:lnTo>
                    <a:pt x="910" y="1138"/>
                  </a:lnTo>
                  <a:cubicBezTo>
                    <a:pt x="1154" y="1138"/>
                    <a:pt x="1223" y="1341"/>
                    <a:pt x="1191" y="1517"/>
                  </a:cubicBezTo>
                  <a:close/>
                  <a:moveTo>
                    <a:pt x="1785" y="529"/>
                  </a:moveTo>
                  <a:lnTo>
                    <a:pt x="1785" y="529"/>
                  </a:lnTo>
                  <a:cubicBezTo>
                    <a:pt x="1831" y="269"/>
                    <a:pt x="1599" y="3"/>
                    <a:pt x="1184" y="1"/>
                  </a:cubicBezTo>
                  <a:cubicBezTo>
                    <a:pt x="836" y="0"/>
                    <a:pt x="566" y="260"/>
                    <a:pt x="566" y="260"/>
                  </a:cubicBezTo>
                  <a:cubicBezTo>
                    <a:pt x="566" y="260"/>
                    <a:pt x="744" y="134"/>
                    <a:pt x="1030" y="161"/>
                  </a:cubicBezTo>
                  <a:cubicBezTo>
                    <a:pt x="1320" y="189"/>
                    <a:pt x="1475" y="377"/>
                    <a:pt x="1455" y="533"/>
                  </a:cubicBezTo>
                  <a:cubicBezTo>
                    <a:pt x="1418" y="822"/>
                    <a:pt x="1172" y="984"/>
                    <a:pt x="964" y="984"/>
                  </a:cubicBezTo>
                  <a:lnTo>
                    <a:pt x="761" y="984"/>
                  </a:lnTo>
                  <a:lnTo>
                    <a:pt x="917" y="563"/>
                  </a:lnTo>
                  <a:cubicBezTo>
                    <a:pt x="920" y="555"/>
                    <a:pt x="922" y="548"/>
                    <a:pt x="923" y="541"/>
                  </a:cubicBezTo>
                  <a:cubicBezTo>
                    <a:pt x="925" y="533"/>
                    <a:pt x="929" y="524"/>
                    <a:pt x="930" y="514"/>
                  </a:cubicBezTo>
                  <a:cubicBezTo>
                    <a:pt x="941" y="455"/>
                    <a:pt x="910" y="359"/>
                    <a:pt x="799" y="359"/>
                  </a:cubicBezTo>
                  <a:cubicBezTo>
                    <a:pt x="713" y="359"/>
                    <a:pt x="625" y="424"/>
                    <a:pt x="593" y="521"/>
                  </a:cubicBezTo>
                  <a:cubicBezTo>
                    <a:pt x="589" y="526"/>
                    <a:pt x="586" y="531"/>
                    <a:pt x="583" y="539"/>
                  </a:cubicBezTo>
                  <a:lnTo>
                    <a:pt x="195" y="1583"/>
                  </a:lnTo>
                  <a:cubicBezTo>
                    <a:pt x="0" y="2153"/>
                    <a:pt x="473" y="2182"/>
                    <a:pt x="560" y="2186"/>
                  </a:cubicBezTo>
                  <a:cubicBezTo>
                    <a:pt x="1316" y="2186"/>
                    <a:pt x="1539" y="1787"/>
                    <a:pt x="1586" y="1520"/>
                  </a:cubicBezTo>
                  <a:cubicBezTo>
                    <a:pt x="1602" y="1433"/>
                    <a:pt x="1617" y="1086"/>
                    <a:pt x="1252" y="1040"/>
                  </a:cubicBezTo>
                  <a:lnTo>
                    <a:pt x="1253" y="1034"/>
                  </a:lnTo>
                  <a:cubicBezTo>
                    <a:pt x="1483" y="987"/>
                    <a:pt x="1735" y="813"/>
                    <a:pt x="1785" y="529"/>
                  </a:cubicBezTo>
                  <a:close/>
                </a:path>
              </a:pathLst>
            </a:custGeom>
            <a:solidFill>
              <a:srgbClr val="0065BD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53432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1600" b="1" kern="1200" noProof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Tx/>
        <a:buNone/>
        <a:defRPr lang="de-DE" sz="1600" b="1" kern="1200" dirty="0" smtClean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1pPr>
      <a:lvl2pPr marL="190500" indent="-1905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600" kern="1200" dirty="0" smtClean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2pPr>
      <a:lvl3pPr marL="190500" indent="-1905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600" kern="1200" dirty="0" smtClean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3pPr>
      <a:lvl4pPr marL="377825" indent="-1905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600" b="0" kern="1200" dirty="0" smtClean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4pPr>
      <a:lvl5pPr marL="377825" indent="-1905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400" kern="1200" dirty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5pPr>
      <a:lvl6pPr marL="568960" indent="-1905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sz="1350" kern="120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7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6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jpeg"/><Relationship Id="rId7" Type="http://schemas.microsoft.com/office/2007/relationships/hdphoto" Target="../media/hdphoto3.wdp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2022.10.19, </a:t>
            </a:r>
            <a:br>
              <a:rPr lang="en-US" noProof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</a:br>
            <a:r>
              <a:rPr lang="en-US" b="1" noProof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unny Xu,</a:t>
            </a:r>
            <a:r>
              <a:rPr lang="en-US" noProof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SOCMA China</a:t>
            </a:r>
            <a:endParaRPr lang="en-US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  <a:t>HNF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150S-160S Compact</a:t>
            </a: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8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Efficiency @ Value</a:t>
            </a:r>
          </a:p>
        </p:txBody>
      </p:sp>
      <p:pic>
        <p:nvPicPr>
          <p:cNvPr id="4" name="图片 3" descr="SOCMA（黑色透明新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635" y="280035"/>
            <a:ext cx="1893570" cy="560070"/>
          </a:xfrm>
          <a:prstGeom prst="rect">
            <a:avLst/>
          </a:prstGeom>
        </p:spPr>
      </p:pic>
      <p:pic>
        <p:nvPicPr>
          <p:cNvPr id="10" name="图片占位符 9" descr="Compact SOCMA 15ton forklift  (3)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xfrm>
            <a:off x="4643755" y="1010920"/>
            <a:ext cx="4500245" cy="299974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C22801-108F-28C2-3E9C-D05AB11CB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3DB2F9F-0F44-AC33-ACEE-1D819E58D5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</a:rPr>
              <a:t>HNF 150S-160S Compact</a:t>
            </a:r>
            <a:endParaRPr lang="ru-RU" dirty="0"/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F71E9522-93C0-F705-FFB1-D7BCF9A662FE}"/>
              </a:ext>
            </a:extLst>
          </p:cNvPr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963305006"/>
              </p:ext>
            </p:extLst>
          </p:nvPr>
        </p:nvGraphicFramePr>
        <p:xfrm>
          <a:off x="1621630" y="1283081"/>
          <a:ext cx="5578370" cy="24508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7741">
                  <a:extLst>
                    <a:ext uri="{9D8B030D-6E8A-4147-A177-3AD203B41FA5}">
                      <a16:colId xmlns:a16="http://schemas.microsoft.com/office/drawing/2014/main" val="601066150"/>
                    </a:ext>
                  </a:extLst>
                </a:gridCol>
                <a:gridCol w="2736806">
                  <a:extLst>
                    <a:ext uri="{9D8B030D-6E8A-4147-A177-3AD203B41FA5}">
                      <a16:colId xmlns:a16="http://schemas.microsoft.com/office/drawing/2014/main" val="836732473"/>
                    </a:ext>
                  </a:extLst>
                </a:gridCol>
                <a:gridCol w="615454">
                  <a:extLst>
                    <a:ext uri="{9D8B030D-6E8A-4147-A177-3AD203B41FA5}">
                      <a16:colId xmlns:a16="http://schemas.microsoft.com/office/drawing/2014/main" val="11801907"/>
                    </a:ext>
                  </a:extLst>
                </a:gridCol>
                <a:gridCol w="1518369">
                  <a:extLst>
                    <a:ext uri="{9D8B030D-6E8A-4147-A177-3AD203B41FA5}">
                      <a16:colId xmlns:a16="http://schemas.microsoft.com/office/drawing/2014/main" val="3677231857"/>
                    </a:ext>
                  </a:extLst>
                </a:gridCol>
              </a:tblGrid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5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Номинальный крутящий момент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Н*м/об.мин.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418/1500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38435274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6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Количество цилиндров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шт.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4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1136077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7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Рабочий объем двигателя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л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4,5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60548305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8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Рабочее давление навесного оборудования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МПа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16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64787520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9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Рабочий поток масла при использовании навесного оборудования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л/мин.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40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34412222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10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Трансмиссия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 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2/2 </a:t>
                      </a:r>
                      <a:r>
                        <a:rPr lang="en-US" sz="1200" kern="0">
                          <a:effectLst/>
                        </a:rPr>
                        <a:t>Power Shift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57887693"/>
                  </a:ext>
                </a:extLst>
              </a:tr>
              <a:tr h="96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5.11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Тип трансмиссии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>
                          <a:effectLst/>
                        </a:rPr>
                        <a:t> </a:t>
                      </a:r>
                      <a:endParaRPr lang="ru-RU" sz="12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200" kern="0" dirty="0">
                          <a:effectLst/>
                        </a:rPr>
                        <a:t>Трансмиссия с гидравлической муфтой</a:t>
                      </a:r>
                      <a:endParaRPr lang="ru-RU" sz="1200" kern="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97710598"/>
                  </a:ext>
                </a:extLst>
              </a:tr>
            </a:tbl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968A07F-4E36-028D-4A0D-9921DA322F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7616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1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>
          <a:xfrm>
            <a:off x="359956" y="4856786"/>
            <a:ext cx="8064000" cy="144000"/>
          </a:xfrm>
        </p:spPr>
        <p:txBody>
          <a:bodyPr/>
          <a:lstStyle/>
          <a:p>
            <a:r>
              <a:rPr lang="en-US">
                <a:sym typeface="+mn-ea"/>
              </a:rPr>
              <a:t>     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363" y="669925"/>
            <a:ext cx="6838950" cy="252413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</a:rPr>
              <a:t>HNF 150S-160S Compact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532502" y="1122045"/>
            <a:ext cx="3247602" cy="150690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532502" y="3136899"/>
            <a:ext cx="3247602" cy="1159693"/>
          </a:xfrm>
          <a:prstGeom prst="rect">
            <a:avLst/>
          </a:prstGeom>
        </p:spPr>
      </p:pic>
      <p:sp>
        <p:nvSpPr>
          <p:cNvPr id="11" name="Title 2"/>
          <p:cNvSpPr txBox="1"/>
          <p:nvPr/>
        </p:nvSpPr>
        <p:spPr bwMode="gray">
          <a:xfrm>
            <a:off x="360000" y="1104476"/>
            <a:ext cx="4900324" cy="1991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sv-SE" sz="14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ssis</a:t>
            </a:r>
            <a:endParaRPr lang="en-US" sz="1400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subjected to Finite Element Analysis(FEA) to ensure that there is always enough safety margin under severe working conditions; the workmanship is exquisite and firm. Effectively alignment with axles and transmission to ensure the lateral and longitudinal stability and energy saving of the entire vehicle operation process</a:t>
            </a:r>
          </a:p>
        </p:txBody>
      </p:sp>
      <p:sp>
        <p:nvSpPr>
          <p:cNvPr id="12" name="Content Placeholder 3"/>
          <p:cNvSpPr txBox="1"/>
          <p:nvPr/>
        </p:nvSpPr>
        <p:spPr>
          <a:xfrm>
            <a:off x="360045" y="3424555"/>
            <a:ext cx="3817620" cy="137922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marL="24130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Char char="•"/>
              <a:defRPr b="0">
                <a:latin typeface="+mj-lt"/>
              </a:defRPr>
            </a:lvl1pPr>
            <a:lvl2pPr marL="4756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2130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x type chassi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trong welded structure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nti-slip step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ood rigidity and strength</a:t>
            </a:r>
          </a:p>
          <a:p>
            <a:pPr marL="0" indent="0">
              <a:buNone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cs typeface="Arial" panose="020B0604020202020204" pitchFamily="34" charset="0"/>
              </a:rPr>
              <a:t>12</a:t>
            </a:fld>
            <a:endParaRPr 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/>
          <p:nvPr/>
        </p:nvSpPr>
        <p:spPr bwMode="gray">
          <a:xfrm>
            <a:off x="359413" y="1087310"/>
            <a:ext cx="3817365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sz="2130"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Drivetrai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sp>
        <p:nvSpPr>
          <p:cNvPr id="2" name="Content Placeholder 2"/>
          <p:cNvSpPr txBox="1"/>
          <p:nvPr/>
        </p:nvSpPr>
        <p:spPr>
          <a:xfrm>
            <a:off x="271969" y="1331924"/>
            <a:ext cx="4966747" cy="3401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marL="24130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Char char="•"/>
              <a:defRPr b="0">
                <a:latin typeface="+mj-lt"/>
              </a:defRPr>
            </a:lvl1pPr>
            <a:lvl2pPr marL="4756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2130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ngine-well-known turbocharged engine: strong horsepower, large torque reserve, low fuel consumption, high reliability; easy access to accessorie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Yuchai YC6J150-T301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ngfeng Cummins 6BT5.9-C130 CN2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ngfeng Cummins QSB4.5-C130 Euro III</a:t>
            </a: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ransmission-automatic shift transmission can change gears very smoothly, reliable, safe, and easy to maintain.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 FW/2RW</a:t>
            </a: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rive axle-adopts a heavy-duty forklift drive axle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arge load capacity 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ong service life</a:t>
            </a: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eavy duty Air filter</a:t>
            </a:r>
          </a:p>
        </p:txBody>
      </p:sp>
      <p:pic>
        <p:nvPicPr>
          <p:cNvPr id="25" name="图片 5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188362" y="1103861"/>
            <a:ext cx="1934534" cy="170836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122896" y="1103862"/>
            <a:ext cx="1659908" cy="170836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6013012" y="2987413"/>
            <a:ext cx="2219768" cy="113219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3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6312535" y="1063625"/>
            <a:ext cx="1818005" cy="19532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6312535" y="3016885"/>
            <a:ext cx="2518410" cy="1765300"/>
          </a:xfrm>
          <a:prstGeom prst="rect">
            <a:avLst/>
          </a:prstGeom>
        </p:spPr>
      </p:pic>
      <p:sp>
        <p:nvSpPr>
          <p:cNvPr id="9" name="Title 1"/>
          <p:cNvSpPr txBox="1"/>
          <p:nvPr/>
        </p:nvSpPr>
        <p:spPr bwMode="gray">
          <a:xfrm>
            <a:off x="360000" y="1086946"/>
            <a:ext cx="5753100" cy="2974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sz="2130"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aulic System</a:t>
            </a:r>
            <a:r>
              <a:rPr lang="en-US" altLang="sv-SE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umps merge, </a:t>
            </a:r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priority hydraulic system</a:t>
            </a:r>
          </a:p>
          <a:p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pped with oil return radiator and back pressure protection device to ensure the heat balance of the whole machine.</a:t>
            </a:r>
          </a:p>
          <a:p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le-handle joystick control valve and electronically controlled variable speed control valve, make operation of the whole machine lighter and more flexible</a:t>
            </a:r>
          </a:p>
          <a:p>
            <a:r>
              <a:rPr 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hydraulic  steering priority system, with effortless action and control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4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itle 1"/>
          <p:cNvSpPr txBox="1"/>
          <p:nvPr/>
        </p:nvSpPr>
        <p:spPr bwMode="gray">
          <a:xfrm>
            <a:off x="363897" y="1063266"/>
            <a:ext cx="3817365" cy="25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 algn="l" defTabSz="913765" rtl="0" eaLnBrk="1" latinLnBrk="0" hangingPunct="1">
              <a:lnSpc>
                <a:spcPts val="2665"/>
              </a:lnSpc>
              <a:spcBef>
                <a:spcPct val="0"/>
              </a:spcBef>
              <a:buNone/>
              <a:defRPr lang="en-GB" sz="2130" b="1" kern="1200" cap="none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Control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-160 Compact</a:t>
            </a:r>
          </a:p>
        </p:txBody>
      </p:sp>
      <p:pic>
        <p:nvPicPr>
          <p:cNvPr id="2" name="图片 1" descr="_MG_494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screen"/>
          <a:stretch>
            <a:fillRect/>
          </a:stretch>
        </p:blipFill>
        <p:spPr>
          <a:xfrm>
            <a:off x="4377690" y="1425905"/>
            <a:ext cx="4402413" cy="2935550"/>
          </a:xfrm>
          <a:prstGeom prst="rect">
            <a:avLst/>
          </a:prstGeom>
        </p:spPr>
      </p:pic>
      <p:sp>
        <p:nvSpPr>
          <p:cNvPr id="3" name="Content Placeholder 2"/>
          <p:cNvSpPr txBox="1"/>
          <p:nvPr/>
        </p:nvSpPr>
        <p:spPr>
          <a:xfrm>
            <a:off x="267516" y="1308367"/>
            <a:ext cx="4110174" cy="147728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Pilot valve control device to make the work efficient and reduce drivers’ labor intensity.</a:t>
            </a:r>
          </a:p>
          <a:p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Joystick controlled mast and carriage operation.</a:t>
            </a:r>
          </a:p>
          <a:p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Drive direction controlled lever on steering column</a:t>
            </a:r>
          </a:p>
          <a:p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Operator’s color display indicator 6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Engine RPM, Temperature,  Fuel level, Working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Drive direction FN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Brake system air pressure &amp; hydraulic oil press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Optional load indicator &amp; prin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 rot="10800000" flipH="1" flipV="1">
            <a:off x="959034" y="3679371"/>
            <a:ext cx="1936683" cy="1054403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5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1"/>
          <p:cNvSpPr txBox="1"/>
          <p:nvPr/>
        </p:nvSpPr>
        <p:spPr bwMode="gray">
          <a:xfrm>
            <a:off x="363897" y="1058862"/>
            <a:ext cx="3817365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Cabi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9680" y="1076960"/>
            <a:ext cx="4597400" cy="3371850"/>
          </a:xfrm>
          <a:prstGeom prst="rect">
            <a:avLst/>
          </a:prstGeom>
        </p:spPr>
      </p:pic>
      <p:sp>
        <p:nvSpPr>
          <p:cNvPr id="9" name="Content Placeholder 2"/>
          <p:cNvSpPr txBox="1"/>
          <p:nvPr/>
        </p:nvSpPr>
        <p:spPr>
          <a:xfrm>
            <a:off x="360000" y="1398877"/>
            <a:ext cx="4019432" cy="321878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liding windows L / R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ors both side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ipe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ront, rear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eating system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ir conditioning system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uspended frame, comfortable and spacious.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eat front /rear and height adjustabl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heel column angle is adjustabl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t glance controls and display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perator’s presence system optional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6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sp>
        <p:nvSpPr>
          <p:cNvPr id="3" name="Content Placeholder 4"/>
          <p:cNvSpPr txBox="1"/>
          <p:nvPr/>
        </p:nvSpPr>
        <p:spPr>
          <a:xfrm>
            <a:off x="285341" y="2219523"/>
            <a:ext cx="5187442" cy="23651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350" dirty="0"/>
              <a:t>Lifting heigh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/>
              <a:t>3m duplex as standa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50" dirty="0"/>
              <a:t>3-5.5m as option</a:t>
            </a:r>
          </a:p>
          <a:p>
            <a:r>
              <a:rPr lang="en-US" sz="1350" dirty="0"/>
              <a:t>Lifting spe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b="0" dirty="0"/>
              <a:t>0.205m/s- 0.255m/s with full load/without load</a:t>
            </a:r>
          </a:p>
          <a:p>
            <a:r>
              <a:rPr lang="en-US" sz="1350" dirty="0"/>
              <a:t>Lowering speed </a:t>
            </a:r>
            <a:endParaRPr lang="en-US" sz="1350" dirty="0">
              <a:solidFill>
                <a:srgbClr val="FF0000"/>
              </a:solidFill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b="0" dirty="0">
                <a:sym typeface="+mn-ea"/>
              </a:rPr>
              <a:t>0.435m/s-</a:t>
            </a:r>
            <a:r>
              <a:rPr lang="en-US" sz="1350" b="0" dirty="0"/>
              <a:t>0.285m/s </a:t>
            </a:r>
            <a:r>
              <a:rPr lang="en-US" sz="1350" b="0" dirty="0">
                <a:sym typeface="+mn-ea"/>
              </a:rPr>
              <a:t>without load/with full load</a:t>
            </a:r>
            <a:endParaRPr lang="en-US" sz="1350" b="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542280" y="1132840"/>
            <a:ext cx="2209800" cy="3330575"/>
          </a:xfrm>
          <a:prstGeom prst="rect">
            <a:avLst/>
          </a:prstGeom>
        </p:spPr>
      </p:pic>
      <p:sp>
        <p:nvSpPr>
          <p:cNvPr id="9" name="Title 1"/>
          <p:cNvSpPr txBox="1"/>
          <p:nvPr/>
        </p:nvSpPr>
        <p:spPr bwMode="gray">
          <a:xfrm>
            <a:off x="360000" y="1061766"/>
            <a:ext cx="4631690" cy="1012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Mast</a:t>
            </a:r>
            <a:endParaRPr lang="en-US" altLang="sv-S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-type internal-external mast, special all-round roller bearings, increase lifting performance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7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1"/>
          <p:cNvSpPr txBox="1"/>
          <p:nvPr/>
        </p:nvSpPr>
        <p:spPr bwMode="gray">
          <a:xfrm>
            <a:off x="363896" y="933919"/>
            <a:ext cx="3817365" cy="464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sv-SE" sz="1400" dirty="0">
                <a:latin typeface="Arial" panose="020B0604020202020204" pitchFamily="34" charset="0"/>
                <a:cs typeface="Arial" panose="020B0604020202020204" pitchFamily="34" charset="0"/>
              </a:rPr>
              <a:t>Free</a:t>
            </a: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 Mast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sp>
        <p:nvSpPr>
          <p:cNvPr id="2" name="Content Placeholder 4"/>
          <p:cNvSpPr txBox="1"/>
          <p:nvPr/>
        </p:nvSpPr>
        <p:spPr>
          <a:xfrm>
            <a:off x="354767" y="1487870"/>
            <a:ext cx="5187442" cy="23651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ifting heigh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>
                <a:ln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3m duplex wide view type as standa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>
                <a:ln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3-5.5m duplex/triplex free mast as op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 err="1">
                <a:ln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Freelift</a:t>
            </a:r>
            <a:r>
              <a:rPr lang="en-US" sz="1200" dirty="0">
                <a:ln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 998-1833mm as option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ifting spe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0.205m/s- 0.255m/s 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ith full load/without load</a:t>
            </a: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owering spe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0.435m/s-0.285m/s without load/with full load</a:t>
            </a: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784850" y="1071245"/>
            <a:ext cx="2742565" cy="344741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8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099685" y="1369695"/>
            <a:ext cx="3832860" cy="3048000"/>
          </a:xfrm>
          <a:prstGeom prst="rect">
            <a:avLst/>
          </a:prstGeom>
        </p:spPr>
      </p:pic>
      <p:sp>
        <p:nvSpPr>
          <p:cNvPr id="9" name="Title 4"/>
          <p:cNvSpPr txBox="1"/>
          <p:nvPr/>
        </p:nvSpPr>
        <p:spPr bwMode="gray">
          <a:xfrm>
            <a:off x="358775" y="1113359"/>
            <a:ext cx="4516313" cy="1164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Carriage</a:t>
            </a:r>
            <a:endParaRPr lang="en-US" altLang="sv-S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sv-SE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 and durable construction, tested through Finite Element Analysis(FEA), it can resist high intensity operations</a:t>
            </a:r>
            <a:r>
              <a:rPr lang="en-US" altLang="sv-SE" sz="135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Content Placeholder 5"/>
          <p:cNvSpPr txBox="1"/>
          <p:nvPr/>
        </p:nvSpPr>
        <p:spPr>
          <a:xfrm>
            <a:off x="363855" y="2585352"/>
            <a:ext cx="3817365" cy="11645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Durable &amp; robust design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troke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dard with fork positioner and side shifter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Optional design for stone and mining application</a:t>
            </a:r>
            <a:r>
              <a:rPr lang="en-US" sz="12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19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2"/>
          <p:cNvSpPr txBox="1"/>
          <p:nvPr/>
        </p:nvSpPr>
        <p:spPr bwMode="gray">
          <a:xfrm>
            <a:off x="363896" y="940402"/>
            <a:ext cx="3817365" cy="648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 algn="l" defTabSz="913765" rtl="0" eaLnBrk="1" latinLnBrk="0" hangingPunct="1">
              <a:lnSpc>
                <a:spcPts val="2665"/>
              </a:lnSpc>
              <a:spcBef>
                <a:spcPct val="0"/>
              </a:spcBef>
              <a:buNone/>
              <a:defRPr lang="en-GB" sz="2130" b="1" kern="1200" cap="none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Fork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sp>
        <p:nvSpPr>
          <p:cNvPr id="2" name="Content Placeholder 3"/>
          <p:cNvSpPr txBox="1"/>
          <p:nvPr/>
        </p:nvSpPr>
        <p:spPr>
          <a:xfrm>
            <a:off x="285115" y="1692275"/>
            <a:ext cx="4374938" cy="18053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Standard dot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0x180X90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CADE brand, stronger, more wear-resistant,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al with alternative customized lengths</a:t>
            </a:r>
          </a:p>
          <a:p>
            <a:pPr marL="214630" lvl="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Quick interchangeable and replaceable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4750933" y="1344295"/>
            <a:ext cx="4033021" cy="180530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>
          <a:xfrm>
            <a:off x="6819900" y="0"/>
            <a:ext cx="2324100" cy="1554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108000" tIns="36000" rIns="36000" bIns="54000" rtlCol="0" anchor="ctr">
            <a:noAutofit/>
          </a:bodyPr>
          <a:lstStyle/>
          <a:p>
            <a:pPr algn="ctr"/>
            <a:endParaRPr lang="zh-CN" altLang="en-US" sz="1400" b="1" dirty="0">
              <a:solidFill>
                <a:srgbClr val="383633"/>
              </a:solidFill>
              <a:latin typeface="+mn-lt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588" y="3686271"/>
            <a:ext cx="9142412" cy="1052611"/>
          </a:xfrm>
          <a:gradFill>
            <a:gsLst>
              <a:gs pos="0">
                <a:schemeClr val="bg1"/>
              </a:gs>
              <a:gs pos="25000">
                <a:schemeClr val="bg1">
                  <a:alpha val="56000"/>
                </a:schemeClr>
              </a:gs>
              <a:gs pos="100000">
                <a:schemeClr val="bg1"/>
              </a:gs>
              <a:gs pos="60000">
                <a:schemeClr val="bg1">
                  <a:alpha val="71000"/>
                </a:schemeClr>
              </a:gs>
            </a:gsLst>
          </a:gradFill>
        </p:spPr>
        <p:txBody>
          <a:bodyPr/>
          <a:lstStyle/>
          <a:p>
            <a:br>
              <a:rPr lang="en-US" altLang="zh-CN" sz="2200" dirty="0">
                <a:solidFill>
                  <a:srgbClr val="0070C0"/>
                </a:solidFill>
                <a:latin typeface="微软雅黑" panose="020B0503020204020204" pitchFamily="34" charset="-122"/>
              </a:rPr>
            </a:br>
            <a:endParaRPr lang="en-US" sz="15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168820" y="4144763"/>
            <a:ext cx="8063638" cy="252000"/>
          </a:xfrm>
        </p:spPr>
        <p:txBody>
          <a:bodyPr/>
          <a:lstStyle/>
          <a:p>
            <a:r>
              <a:rPr lang="en-US" altLang="zh-CN" dirty="0"/>
              <a:t> </a:t>
            </a:r>
            <a:endParaRPr 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30303" y="3801572"/>
            <a:ext cx="5729773" cy="429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200" b="1" dirty="0">
                <a:solidFill>
                  <a:srgbClr val="0070C0"/>
                </a:solidFill>
                <a:latin typeface="+mj-ea"/>
                <a:ea typeface="+mj-ea"/>
              </a:rPr>
              <a:t> </a:t>
            </a:r>
          </a:p>
        </p:txBody>
      </p:sp>
      <p:pic>
        <p:nvPicPr>
          <p:cNvPr id="2" name="图片 1" descr="SOCMA（黑色透明新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6775" y="518795"/>
            <a:ext cx="1745615" cy="516255"/>
          </a:xfrm>
          <a:prstGeom prst="rect">
            <a:avLst/>
          </a:prstGeom>
        </p:spPr>
      </p:pic>
      <p:pic>
        <p:nvPicPr>
          <p:cNvPr id="12" name="图片占位符 11" descr="Compact SOCMA 15ton forklift  (1)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xfrm>
            <a:off x="630555" y="518795"/>
            <a:ext cx="5549265" cy="37001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20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2"/>
          <p:cNvSpPr txBox="1"/>
          <p:nvPr/>
        </p:nvSpPr>
        <p:spPr bwMode="gray">
          <a:xfrm>
            <a:off x="363896" y="1254778"/>
            <a:ext cx="3817365" cy="333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 algn="l" defTabSz="913765" rtl="0" eaLnBrk="1" latinLnBrk="0" hangingPunct="1">
              <a:lnSpc>
                <a:spcPts val="2665"/>
              </a:lnSpc>
              <a:spcBef>
                <a:spcPct val="0"/>
              </a:spcBef>
              <a:buNone/>
              <a:defRPr lang="en-GB" sz="2130" b="1" kern="1200" cap="none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Maintenenc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70842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sp>
        <p:nvSpPr>
          <p:cNvPr id="3" name="Content Placeholder 3"/>
          <p:cNvSpPr txBox="1"/>
          <p:nvPr/>
        </p:nvSpPr>
        <p:spPr>
          <a:xfrm>
            <a:off x="363896" y="1812527"/>
            <a:ext cx="4208104" cy="152320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indent="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None/>
              <a:defRPr b="1"/>
            </a:lvl1pPr>
            <a:lvl2pPr marL="475615" lvl="1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</a:lvl2pPr>
            <a:lvl3pPr marL="716915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3pPr>
            <a:lvl4pPr marL="958215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 b="0"/>
            </a:lvl4pPr>
            <a:lvl5pPr marL="1192530" indent="-23495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5pPr>
            <a:lvl6pPr marL="1433830" indent="-241300" defTabSz="913765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sz="1865"/>
            </a:lvl6pPr>
            <a:lvl7pPr marL="296926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5825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2390" indent="-228600" defTabSz="91376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Easy access to preventive maintenance components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Engine hood with assisting pneumatic spring</a:t>
            </a:r>
          </a:p>
          <a:p>
            <a:pPr marL="214630" indent="-214630"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Cabin can be tilted to the right for maintenance acces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Picture 2" descr="C:\Users\Administrator\Desktop\_MG_4918-H.jpg_MG_4918-H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>
            <a:off x="5086478" y="960772"/>
            <a:ext cx="3564890" cy="3603561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1045845" y="3672205"/>
            <a:ext cx="666559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                                  </a:t>
            </a:r>
          </a:p>
          <a:p>
            <a:pPr algn="ctr"/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4775" y="4495800"/>
            <a:ext cx="8877300" cy="40011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2286000" y="2035810"/>
            <a:ext cx="6402705" cy="10763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6400" b="1" dirty="0">
                <a:solidFill>
                  <a:srgbClr val="01ACB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r>
              <a:rPr lang="en-US" altLang="zh-CN" sz="6000" b="1" dirty="0">
                <a:solidFill>
                  <a:srgbClr val="01ACB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HANK YOU!</a:t>
            </a:r>
          </a:p>
        </p:txBody>
      </p:sp>
      <p:sp>
        <p:nvSpPr>
          <p:cNvPr id="5" name="Freeform 5"/>
          <p:cNvSpPr/>
          <p:nvPr/>
        </p:nvSpPr>
        <p:spPr bwMode="auto">
          <a:xfrm rot="5400000">
            <a:off x="1623132" y="375878"/>
            <a:ext cx="1403170" cy="1243620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" name="Freeform 5"/>
          <p:cNvSpPr/>
          <p:nvPr/>
        </p:nvSpPr>
        <p:spPr bwMode="auto">
          <a:xfrm rot="5400000">
            <a:off x="3697580" y="920714"/>
            <a:ext cx="825442" cy="731584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2" name="Freeform 5"/>
          <p:cNvSpPr/>
          <p:nvPr/>
        </p:nvSpPr>
        <p:spPr bwMode="auto">
          <a:xfrm rot="5400000">
            <a:off x="1152023" y="1721611"/>
            <a:ext cx="1281674" cy="1135940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3" name="Freeform 5"/>
          <p:cNvSpPr/>
          <p:nvPr/>
        </p:nvSpPr>
        <p:spPr bwMode="auto">
          <a:xfrm rot="5400000">
            <a:off x="17001" y="2093724"/>
            <a:ext cx="1549136" cy="1372989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6" name="Freeform 5"/>
          <p:cNvSpPr/>
          <p:nvPr/>
        </p:nvSpPr>
        <p:spPr bwMode="auto">
          <a:xfrm rot="5400000">
            <a:off x="1102360" y="2565400"/>
            <a:ext cx="1221740" cy="1145540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rgbClr val="F45058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Freeform 5"/>
          <p:cNvSpPr/>
          <p:nvPr/>
        </p:nvSpPr>
        <p:spPr bwMode="auto">
          <a:xfrm rot="5400000">
            <a:off x="997966" y="4054506"/>
            <a:ext cx="843727" cy="747789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6" name="Freeform 5"/>
          <p:cNvSpPr/>
          <p:nvPr/>
        </p:nvSpPr>
        <p:spPr bwMode="auto">
          <a:xfrm rot="5400000">
            <a:off x="2630672" y="3211271"/>
            <a:ext cx="570200" cy="505365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pic>
        <p:nvPicPr>
          <p:cNvPr id="8" name="图片 7" descr="SOCMA（黑色透明新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6290" y="208915"/>
            <a:ext cx="1749425" cy="5175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11" grpId="0" bldLvl="0" animBg="1"/>
      <p:bldP spid="12" grpId="0" bldLvl="0" animBg="1"/>
      <p:bldP spid="13" grpId="0" bldLvl="0" animBg="1"/>
      <p:bldP spid="6" grpId="0" bldLvl="0" animBg="1"/>
      <p:bldP spid="25" grpId="0" bldLvl="0" animBg="1"/>
      <p:bldP spid="26" grpId="0" bldLvl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1"/>
          <p:cNvSpPr txBox="1">
            <a:spLocks noChangeArrowheads="1"/>
          </p:cNvSpPr>
          <p:nvPr/>
        </p:nvSpPr>
        <p:spPr bwMode="auto">
          <a:xfrm>
            <a:off x="5372951" y="2899734"/>
            <a:ext cx="2090982" cy="3956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ct val="30000"/>
              </a:spcAft>
            </a:pP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H  N  F  150</a:t>
            </a:r>
            <a:r>
              <a:rPr lang="en-US" altLang="zh-CN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 - S</a:t>
            </a:r>
            <a:r>
              <a:rPr lang="de-DE" altLang="zh-CN" sz="18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8" name="Gerade Verbindung 3"/>
          <p:cNvCxnSpPr>
            <a:cxnSpLocks noChangeShapeType="1"/>
          </p:cNvCxnSpPr>
          <p:nvPr/>
        </p:nvCxnSpPr>
        <p:spPr bwMode="auto">
          <a:xfrm>
            <a:off x="5487918" y="3257342"/>
            <a:ext cx="130340" cy="1"/>
          </a:xfrm>
          <a:prstGeom prst="line">
            <a:avLst/>
          </a:prstGeom>
          <a:noFill/>
          <a:ln w="19050" algn="ctr">
            <a:solidFill>
              <a:schemeClr val="accent4"/>
            </a:solidFill>
            <a:round/>
          </a:ln>
        </p:spPr>
      </p:cxnSp>
      <p:sp>
        <p:nvSpPr>
          <p:cNvPr id="9" name="Legende mit Linie 2 14"/>
          <p:cNvSpPr/>
          <p:nvPr/>
        </p:nvSpPr>
        <p:spPr bwMode="auto">
          <a:xfrm>
            <a:off x="6026741" y="4523918"/>
            <a:ext cx="2920403" cy="189478"/>
          </a:xfrm>
          <a:prstGeom prst="borderCallout2">
            <a:avLst>
              <a:gd name="adj1" fmla="val 50167"/>
              <a:gd name="adj2" fmla="val -32"/>
              <a:gd name="adj3" fmla="val 50856"/>
              <a:gd name="adj4" fmla="val -16288"/>
              <a:gd name="adj5" fmla="val -659864"/>
              <a:gd name="adj6" fmla="val -16126"/>
            </a:avLst>
          </a:prstGeom>
          <a:noFill/>
          <a:ln w="6350" algn="ctr">
            <a:solidFill>
              <a:schemeClr val="tx1"/>
            </a:solidFill>
            <a:prstDash val="sysDot"/>
            <a:round/>
          </a:ln>
        </p:spPr>
        <p:txBody>
          <a:bodyPr wrap="none" lIns="90000" tIns="72000" rIns="90000" bIns="36000" anchor="ctr"/>
          <a:lstStyle/>
          <a:p>
            <a:pPr algn="l">
              <a:lnSpc>
                <a:spcPct val="60000"/>
              </a:lnSpc>
              <a:spcAft>
                <a:spcPct val="30000"/>
              </a:spcAft>
            </a:pPr>
            <a:r>
              <a:rPr lang="en-US" altLang="zh-CN" sz="9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Origin from SOCMA’s Chinese name”HUA NAN”</a:t>
            </a:r>
            <a:endParaRPr lang="en-US" altLang="zh-CN" sz="900" b="1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0" name="Gerade Verbindung 7"/>
          <p:cNvCxnSpPr>
            <a:cxnSpLocks noChangeShapeType="1"/>
          </p:cNvCxnSpPr>
          <p:nvPr/>
        </p:nvCxnSpPr>
        <p:spPr bwMode="auto">
          <a:xfrm flipV="1">
            <a:off x="5772675" y="3257342"/>
            <a:ext cx="132829" cy="2"/>
          </a:xfrm>
          <a:prstGeom prst="line">
            <a:avLst/>
          </a:prstGeom>
          <a:noFill/>
          <a:ln w="19050" algn="ctr">
            <a:solidFill>
              <a:schemeClr val="accent4"/>
            </a:solidFill>
            <a:round/>
          </a:ln>
        </p:spPr>
      </p:cxnSp>
      <p:sp>
        <p:nvSpPr>
          <p:cNvPr id="11" name="Legende mit Linie 2 21"/>
          <p:cNvSpPr/>
          <p:nvPr/>
        </p:nvSpPr>
        <p:spPr bwMode="auto">
          <a:xfrm>
            <a:off x="6273720" y="4287248"/>
            <a:ext cx="2673423" cy="168372"/>
          </a:xfrm>
          <a:prstGeom prst="borderCallout2">
            <a:avLst>
              <a:gd name="adj1" fmla="val 50167"/>
              <a:gd name="adj2" fmla="val -32"/>
              <a:gd name="adj3" fmla="val 50225"/>
              <a:gd name="adj4" fmla="val -16094"/>
              <a:gd name="adj5" fmla="val -606498"/>
              <a:gd name="adj6" fmla="val -16065"/>
            </a:avLst>
          </a:prstGeom>
          <a:noFill/>
          <a:ln w="6350" algn="ctr">
            <a:solidFill>
              <a:schemeClr val="tx1"/>
            </a:solidFill>
            <a:prstDash val="sysDot"/>
            <a:round/>
          </a:ln>
        </p:spPr>
        <p:txBody>
          <a:bodyPr wrap="none" lIns="90000" tIns="72000" rIns="90000" bIns="36000" anchor="ctr"/>
          <a:lstStyle/>
          <a:p>
            <a:pPr algn="l">
              <a:lnSpc>
                <a:spcPct val="60000"/>
              </a:lnSpc>
              <a:spcAft>
                <a:spcPct val="30000"/>
              </a:spcAft>
            </a:pPr>
            <a:r>
              <a:rPr lang="en-US" altLang="zh-CN" sz="9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Origin from SOCMA’s Chinese name”HUA NAN”</a:t>
            </a:r>
            <a:endParaRPr lang="en-US" altLang="zh-CN" sz="900" b="1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" name="Gerade Verbindung 3"/>
          <p:cNvCxnSpPr>
            <a:cxnSpLocks noChangeShapeType="1"/>
          </p:cNvCxnSpPr>
          <p:nvPr/>
        </p:nvCxnSpPr>
        <p:spPr bwMode="auto">
          <a:xfrm>
            <a:off x="6237204" y="4279898"/>
            <a:ext cx="0" cy="175722"/>
          </a:xfrm>
          <a:prstGeom prst="line">
            <a:avLst/>
          </a:prstGeom>
          <a:noFill/>
          <a:ln w="76200" algn="ctr">
            <a:solidFill>
              <a:srgbClr val="223860"/>
            </a:solidFill>
            <a:round/>
          </a:ln>
        </p:spPr>
      </p:cxnSp>
      <p:cxnSp>
        <p:nvCxnSpPr>
          <p:cNvPr id="13" name="直接连接符 12"/>
          <p:cNvCxnSpPr/>
          <p:nvPr/>
        </p:nvCxnSpPr>
        <p:spPr bwMode="auto">
          <a:xfrm>
            <a:off x="5460686" y="2900694"/>
            <a:ext cx="1974638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直接连接符 14"/>
          <p:cNvCxnSpPr/>
          <p:nvPr/>
        </p:nvCxnSpPr>
        <p:spPr bwMode="auto">
          <a:xfrm>
            <a:off x="5460686" y="2952346"/>
            <a:ext cx="197463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3"/>
          <p:cNvCxnSpPr>
            <a:cxnSpLocks noChangeShapeType="1"/>
          </p:cNvCxnSpPr>
          <p:nvPr/>
        </p:nvCxnSpPr>
        <p:spPr bwMode="auto">
          <a:xfrm>
            <a:off x="5988295" y="4520373"/>
            <a:ext cx="0" cy="193023"/>
          </a:xfrm>
          <a:prstGeom prst="line">
            <a:avLst/>
          </a:prstGeom>
          <a:noFill/>
          <a:ln w="76200" algn="ctr">
            <a:solidFill>
              <a:srgbClr val="223860"/>
            </a:solidFill>
            <a:round/>
          </a:ln>
        </p:spPr>
      </p:cxnSp>
      <p:grpSp>
        <p:nvGrpSpPr>
          <p:cNvPr id="22" name="组合 21"/>
          <p:cNvGrpSpPr/>
          <p:nvPr/>
        </p:nvGrpSpPr>
        <p:grpSpPr>
          <a:xfrm>
            <a:off x="360000" y="1152854"/>
            <a:ext cx="4548550" cy="269972"/>
            <a:chOff x="1861283" y="1184427"/>
            <a:chExt cx="4734817" cy="269972"/>
          </a:xfrm>
        </p:grpSpPr>
        <p:sp>
          <p:nvSpPr>
            <p:cNvPr id="23" name="TextBox 22"/>
            <p:cNvSpPr txBox="1"/>
            <p:nvPr/>
          </p:nvSpPr>
          <p:spPr>
            <a:xfrm>
              <a:off x="1965316" y="1184428"/>
              <a:ext cx="4630784" cy="26997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mpd="sng">
              <a:noFill/>
            </a:ln>
          </p:spPr>
          <p:txBody>
            <a:bodyPr wrap="square" lIns="36000" tIns="18000" rIns="36000" bIns="36000" rtlCol="0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400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Product range</a:t>
              </a:r>
            </a:p>
          </p:txBody>
        </p:sp>
        <p:sp>
          <p:nvSpPr>
            <p:cNvPr id="24" name="矩形 23"/>
            <p:cNvSpPr/>
            <p:nvPr/>
          </p:nvSpPr>
          <p:spPr>
            <a:xfrm>
              <a:off x="1861283" y="1184427"/>
              <a:ext cx="104031" cy="269972"/>
            </a:xfrm>
            <a:prstGeom prst="rect">
              <a:avLst/>
            </a:prstGeom>
            <a:solidFill>
              <a:srgbClr val="223860"/>
            </a:solidFill>
            <a:ln>
              <a:noFill/>
            </a:ln>
          </p:spPr>
          <p:txBody>
            <a:bodyPr wrap="none" lIns="108000" tIns="36000" rIns="36000" bIns="54000" rtlCol="0" anchor="ctr">
              <a:noAutofit/>
            </a:bodyPr>
            <a:lstStyle/>
            <a:p>
              <a:pPr algn="ctr"/>
              <a:endParaRPr lang="zh-CN" altLang="en-US" sz="1400" b="1" dirty="0">
                <a:solidFill>
                  <a:srgbClr val="38363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52" name="Gerade Verbindung 7"/>
          <p:cNvCxnSpPr>
            <a:cxnSpLocks noChangeShapeType="1"/>
          </p:cNvCxnSpPr>
          <p:nvPr/>
        </p:nvCxnSpPr>
        <p:spPr bwMode="auto">
          <a:xfrm flipV="1">
            <a:off x="6061409" y="3257342"/>
            <a:ext cx="129839" cy="2"/>
          </a:xfrm>
          <a:prstGeom prst="line">
            <a:avLst/>
          </a:prstGeom>
          <a:noFill/>
          <a:ln w="19050" algn="ctr">
            <a:solidFill>
              <a:schemeClr val="accent4"/>
            </a:solidFill>
            <a:round/>
          </a:ln>
        </p:spPr>
      </p:cxnSp>
      <p:sp>
        <p:nvSpPr>
          <p:cNvPr id="62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cxnSp>
        <p:nvCxnSpPr>
          <p:cNvPr id="42" name="Gerade Verbindung 7"/>
          <p:cNvCxnSpPr>
            <a:cxnSpLocks noChangeShapeType="1"/>
          </p:cNvCxnSpPr>
          <p:nvPr/>
        </p:nvCxnSpPr>
        <p:spPr bwMode="auto">
          <a:xfrm flipV="1">
            <a:off x="6347265" y="3257342"/>
            <a:ext cx="251610" cy="2"/>
          </a:xfrm>
          <a:prstGeom prst="line">
            <a:avLst/>
          </a:prstGeom>
          <a:noFill/>
          <a:ln w="19050" algn="ctr">
            <a:solidFill>
              <a:schemeClr val="accent4"/>
            </a:solidFill>
            <a:round/>
          </a:ln>
        </p:spPr>
      </p:cxnSp>
      <p:cxnSp>
        <p:nvCxnSpPr>
          <p:cNvPr id="66" name="Gerade Verbindung 7"/>
          <p:cNvCxnSpPr>
            <a:cxnSpLocks noChangeShapeType="1"/>
          </p:cNvCxnSpPr>
          <p:nvPr/>
        </p:nvCxnSpPr>
        <p:spPr bwMode="auto">
          <a:xfrm>
            <a:off x="6941621" y="3257342"/>
            <a:ext cx="125805" cy="0"/>
          </a:xfrm>
          <a:prstGeom prst="line">
            <a:avLst/>
          </a:prstGeom>
          <a:noFill/>
          <a:ln w="19050" algn="ctr">
            <a:solidFill>
              <a:schemeClr val="accent4"/>
            </a:solidFill>
            <a:round/>
          </a:ln>
        </p:spPr>
      </p:cxnSp>
      <p:grpSp>
        <p:nvGrpSpPr>
          <p:cNvPr id="43" name="组合 16"/>
          <p:cNvGrpSpPr/>
          <p:nvPr/>
        </p:nvGrpSpPr>
        <p:grpSpPr>
          <a:xfrm>
            <a:off x="621064" y="3715895"/>
            <a:ext cx="2055455" cy="341630"/>
            <a:chOff x="3913785" y="2649706"/>
            <a:chExt cx="2055455" cy="341630"/>
          </a:xfrm>
        </p:grpSpPr>
        <p:grpSp>
          <p:nvGrpSpPr>
            <p:cNvPr id="44" name="组合 17"/>
            <p:cNvGrpSpPr/>
            <p:nvPr/>
          </p:nvGrpSpPr>
          <p:grpSpPr>
            <a:xfrm>
              <a:off x="3913785" y="2649706"/>
              <a:ext cx="2055455" cy="341630"/>
              <a:chOff x="1998923" y="3598736"/>
              <a:chExt cx="2062468" cy="341630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2089832" y="3598736"/>
                <a:ext cx="1971559" cy="34163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txBody>
              <a:bodyPr wrap="square" lIns="72000" tIns="36000" rIns="36000" bIns="36000">
                <a:spAutoFit/>
              </a:bodyPr>
              <a:lstStyle>
                <a:defPPr>
                  <a:defRPr lang="de-DE"/>
                </a:defPPr>
                <a:lvl1pPr>
                  <a:lnSpc>
                    <a:spcPct val="110000"/>
                  </a:lnSpc>
                  <a:spcAft>
                    <a:spcPct val="30000"/>
                  </a:spcAft>
                  <a:defRPr sz="1600" b="1">
                    <a:latin typeface="+mn-lt"/>
                    <a:ea typeface="方正中倩简体" pitchFamily="65" charset="-122"/>
                  </a:defRPr>
                </a:lvl1pPr>
              </a:lstStyle>
              <a:p>
                <a:r>
                  <a:rPr lang="en-US" altLang="zh-CN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HNF150S</a:t>
                </a:r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8" name="矩形 20"/>
              <p:cNvSpPr/>
              <p:nvPr/>
            </p:nvSpPr>
            <p:spPr>
              <a:xfrm>
                <a:off x="1998923" y="3598736"/>
                <a:ext cx="90910" cy="322515"/>
              </a:xfrm>
              <a:prstGeom prst="rect">
                <a:avLst/>
              </a:prstGeom>
              <a:solidFill>
                <a:srgbClr val="223860"/>
              </a:solidFill>
              <a:ln>
                <a:noFill/>
              </a:ln>
            </p:spPr>
            <p:txBody>
              <a:bodyPr wrap="none" lIns="108000" tIns="36000" rIns="36000" bIns="54000" rtlCol="0" anchor="ctr">
                <a:noAutofit/>
              </a:bodyPr>
              <a:lstStyle/>
              <a:p>
                <a:pPr algn="ctr"/>
                <a:endParaRPr lang="zh-CN" altLang="en-US" sz="1400" b="1" dirty="0">
                  <a:solidFill>
                    <a:srgbClr val="383633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5" name="矩形 18"/>
            <p:cNvSpPr/>
            <p:nvPr/>
          </p:nvSpPr>
          <p:spPr>
            <a:xfrm>
              <a:off x="4723052" y="2713477"/>
              <a:ext cx="1224136" cy="246853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algn="r">
                <a:lnSpc>
                  <a:spcPct val="70000"/>
                </a:lnSpc>
                <a:spcAft>
                  <a:spcPct val="30000"/>
                </a:spcAft>
                <a:defRPr/>
              </a:pPr>
              <a:r>
                <a:rPr lang="en-US" altLang="zh-CN" sz="8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Rated Capacity 15000kg@600mm</a:t>
              </a:r>
              <a:endParaRPr lang="zh-CN" alt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9" name="组合 25"/>
          <p:cNvGrpSpPr/>
          <p:nvPr/>
        </p:nvGrpSpPr>
        <p:grpSpPr>
          <a:xfrm>
            <a:off x="621065" y="4279898"/>
            <a:ext cx="2055444" cy="341630"/>
            <a:chOff x="1998924" y="3603355"/>
            <a:chExt cx="2062457" cy="341630"/>
          </a:xfrm>
        </p:grpSpPr>
        <p:sp>
          <p:nvSpPr>
            <p:cNvPr id="50" name="TextBox 49"/>
            <p:cNvSpPr txBox="1"/>
            <p:nvPr/>
          </p:nvSpPr>
          <p:spPr>
            <a:xfrm>
              <a:off x="2090472" y="3603355"/>
              <a:ext cx="1970909" cy="3416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txBody>
            <a:bodyPr wrap="square" lIns="72000" tIns="36000" rIns="36000" bIns="36000">
              <a:spAutoFit/>
            </a:bodyPr>
            <a:lstStyle>
              <a:defPPr>
                <a:defRPr lang="de-DE"/>
              </a:defPPr>
              <a:lvl1pPr>
                <a:lnSpc>
                  <a:spcPct val="110000"/>
                </a:lnSpc>
                <a:spcAft>
                  <a:spcPct val="30000"/>
                </a:spcAft>
                <a:defRPr sz="1600" b="1">
                  <a:latin typeface="+mn-lt"/>
                  <a:ea typeface="方正中倩简体" pitchFamily="65" charset="-122"/>
                </a:defRPr>
              </a:lvl1pPr>
            </a:lstStyle>
            <a:p>
              <a:r>
                <a:rPr lang="en-US" altLang="zh-CN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NF160S  </a:t>
              </a:r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1" name="矩形 28"/>
            <p:cNvSpPr/>
            <p:nvPr/>
          </p:nvSpPr>
          <p:spPr>
            <a:xfrm>
              <a:off x="1998924" y="3603356"/>
              <a:ext cx="90909" cy="323610"/>
            </a:xfrm>
            <a:prstGeom prst="rect">
              <a:avLst/>
            </a:prstGeom>
            <a:solidFill>
              <a:srgbClr val="223860"/>
            </a:solidFill>
            <a:ln>
              <a:noFill/>
            </a:ln>
          </p:spPr>
          <p:txBody>
            <a:bodyPr wrap="none" lIns="108000" tIns="36000" rIns="36000" bIns="54000" rtlCol="0" anchor="ctr">
              <a:noAutofit/>
            </a:bodyPr>
            <a:lstStyle/>
            <a:p>
              <a:pPr algn="ctr"/>
              <a:endParaRPr lang="zh-CN" altLang="en-US" sz="1400" b="1" dirty="0">
                <a:solidFill>
                  <a:srgbClr val="38363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54" name="矩形 58"/>
          <p:cNvSpPr/>
          <p:nvPr/>
        </p:nvSpPr>
        <p:spPr>
          <a:xfrm>
            <a:off x="1425980" y="4337157"/>
            <a:ext cx="1224136" cy="24685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r">
              <a:lnSpc>
                <a:spcPct val="70000"/>
              </a:lnSpc>
              <a:spcAft>
                <a:spcPct val="30000"/>
              </a:spcAft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ated Capacity 16000kg@600mm</a:t>
            </a:r>
            <a:endParaRPr lang="zh-CN" altLang="en-US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5" name="Legende mit Linie 2 21"/>
          <p:cNvSpPr/>
          <p:nvPr/>
        </p:nvSpPr>
        <p:spPr bwMode="auto">
          <a:xfrm>
            <a:off x="6569550" y="4025074"/>
            <a:ext cx="2377593" cy="175720"/>
          </a:xfrm>
          <a:prstGeom prst="borderCallout2">
            <a:avLst>
              <a:gd name="adj1" fmla="val 50167"/>
              <a:gd name="adj2" fmla="val -32"/>
              <a:gd name="adj3" fmla="val 53053"/>
              <a:gd name="adj4" fmla="val -18906"/>
              <a:gd name="adj5" fmla="val -431621"/>
              <a:gd name="adj6" fmla="val -18877"/>
            </a:avLst>
          </a:prstGeom>
          <a:noFill/>
          <a:ln w="6350" algn="ctr">
            <a:solidFill>
              <a:schemeClr val="tx1"/>
            </a:solidFill>
            <a:prstDash val="sysDot"/>
            <a:round/>
          </a:ln>
        </p:spPr>
        <p:txBody>
          <a:bodyPr wrap="none" lIns="90000" tIns="72000" rIns="90000" bIns="36000" anchor="ctr"/>
          <a:lstStyle/>
          <a:p>
            <a:pPr lvl="0">
              <a:lnSpc>
                <a:spcPct val="60000"/>
              </a:lnSpc>
              <a:spcAft>
                <a:spcPct val="30000"/>
              </a:spcAft>
            </a:pPr>
            <a:r>
              <a:rPr lang="en-US" altLang="zh-CN" sz="9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iesel</a:t>
            </a:r>
          </a:p>
        </p:txBody>
      </p:sp>
      <p:sp>
        <p:nvSpPr>
          <p:cNvPr id="56" name="Legende mit Linie 2 21"/>
          <p:cNvSpPr/>
          <p:nvPr/>
        </p:nvSpPr>
        <p:spPr bwMode="auto">
          <a:xfrm>
            <a:off x="6856161" y="3788439"/>
            <a:ext cx="2090982" cy="171499"/>
          </a:xfrm>
          <a:prstGeom prst="borderCallout2">
            <a:avLst>
              <a:gd name="adj1" fmla="val 50167"/>
              <a:gd name="adj2" fmla="val -32"/>
              <a:gd name="adj3" fmla="val 50276"/>
              <a:gd name="adj4" fmla="val -18906"/>
              <a:gd name="adj5" fmla="val -309434"/>
              <a:gd name="adj6" fmla="val -18877"/>
            </a:avLst>
          </a:prstGeom>
          <a:noFill/>
          <a:ln w="6350" algn="ctr">
            <a:solidFill>
              <a:schemeClr val="tx1"/>
            </a:solidFill>
            <a:prstDash val="sysDot"/>
            <a:round/>
          </a:ln>
        </p:spPr>
        <p:txBody>
          <a:bodyPr wrap="none" lIns="90000" tIns="72000" rIns="90000" bIns="36000" anchor="ctr"/>
          <a:lstStyle/>
          <a:p>
            <a:pPr lvl="0">
              <a:lnSpc>
                <a:spcPct val="60000"/>
              </a:lnSpc>
              <a:spcAft>
                <a:spcPct val="30000"/>
              </a:spcAft>
            </a:pPr>
            <a:r>
              <a:rPr lang="en-US" altLang="zh-CN" sz="9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ated Carrying Capacity 15ton</a:t>
            </a:r>
          </a:p>
        </p:txBody>
      </p:sp>
      <p:sp>
        <p:nvSpPr>
          <p:cNvPr id="57" name="Legende mit Linie 2 21"/>
          <p:cNvSpPr/>
          <p:nvPr/>
        </p:nvSpPr>
        <p:spPr bwMode="auto">
          <a:xfrm>
            <a:off x="7286626" y="3551768"/>
            <a:ext cx="1660516" cy="171500"/>
          </a:xfrm>
          <a:prstGeom prst="borderCallout2">
            <a:avLst>
              <a:gd name="adj1" fmla="val 50167"/>
              <a:gd name="adj2" fmla="val -32"/>
              <a:gd name="adj3" fmla="val 50276"/>
              <a:gd name="adj4" fmla="val -16612"/>
              <a:gd name="adj5" fmla="val -170586"/>
              <a:gd name="adj6" fmla="val -16869"/>
            </a:avLst>
          </a:prstGeom>
          <a:noFill/>
          <a:ln w="6350" algn="ctr">
            <a:solidFill>
              <a:schemeClr val="tx1"/>
            </a:solidFill>
            <a:prstDash val="sysDot"/>
            <a:round/>
          </a:ln>
        </p:spPr>
        <p:txBody>
          <a:bodyPr wrap="none" lIns="90000" tIns="72000" rIns="90000" bIns="36000" anchor="ctr"/>
          <a:lstStyle/>
          <a:p>
            <a:pPr lvl="0">
              <a:lnSpc>
                <a:spcPct val="60000"/>
              </a:lnSpc>
              <a:spcAft>
                <a:spcPct val="30000"/>
              </a:spcAft>
            </a:pPr>
            <a:r>
              <a:rPr lang="en-US" altLang="zh-CN" sz="9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“Small” type-compact</a:t>
            </a:r>
          </a:p>
        </p:txBody>
      </p:sp>
      <p:cxnSp>
        <p:nvCxnSpPr>
          <p:cNvPr id="60" name="Gerade Verbindung 3"/>
          <p:cNvCxnSpPr>
            <a:cxnSpLocks noChangeShapeType="1"/>
          </p:cNvCxnSpPr>
          <p:nvPr/>
        </p:nvCxnSpPr>
        <p:spPr bwMode="auto">
          <a:xfrm>
            <a:off x="6825279" y="3782608"/>
            <a:ext cx="0" cy="177330"/>
          </a:xfrm>
          <a:prstGeom prst="line">
            <a:avLst/>
          </a:prstGeom>
          <a:noFill/>
          <a:ln w="76200" algn="ctr">
            <a:solidFill>
              <a:srgbClr val="223860"/>
            </a:solidFill>
            <a:round/>
          </a:ln>
        </p:spPr>
      </p:cxnSp>
      <p:cxnSp>
        <p:nvCxnSpPr>
          <p:cNvPr id="61" name="Gerade Verbindung 3"/>
          <p:cNvCxnSpPr>
            <a:cxnSpLocks noChangeShapeType="1"/>
          </p:cNvCxnSpPr>
          <p:nvPr/>
        </p:nvCxnSpPr>
        <p:spPr bwMode="auto">
          <a:xfrm>
            <a:off x="7249490" y="3551768"/>
            <a:ext cx="0" cy="177330"/>
          </a:xfrm>
          <a:prstGeom prst="line">
            <a:avLst/>
          </a:prstGeom>
          <a:noFill/>
          <a:ln w="76200" algn="ctr">
            <a:solidFill>
              <a:srgbClr val="223860"/>
            </a:solidFill>
            <a:round/>
          </a:ln>
        </p:spPr>
      </p:cxnSp>
      <p:cxnSp>
        <p:nvCxnSpPr>
          <p:cNvPr id="65" name="Gerade Verbindung 3"/>
          <p:cNvCxnSpPr>
            <a:cxnSpLocks noChangeShapeType="1"/>
          </p:cNvCxnSpPr>
          <p:nvPr/>
        </p:nvCxnSpPr>
        <p:spPr bwMode="auto">
          <a:xfrm>
            <a:off x="6535669" y="4033428"/>
            <a:ext cx="0" cy="177330"/>
          </a:xfrm>
          <a:prstGeom prst="line">
            <a:avLst/>
          </a:prstGeom>
          <a:noFill/>
          <a:ln w="76200" algn="ctr">
            <a:solidFill>
              <a:srgbClr val="223860"/>
            </a:solidFill>
            <a:round/>
          </a:ln>
        </p:spPr>
      </p:cxnSp>
      <p:sp>
        <p:nvSpPr>
          <p:cNvPr id="67" name="TextBox 66"/>
          <p:cNvSpPr txBox="1"/>
          <p:nvPr/>
        </p:nvSpPr>
        <p:spPr>
          <a:xfrm>
            <a:off x="5443008" y="2621136"/>
            <a:ext cx="1950868" cy="269971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36000" tIns="18000" rIns="36000" bIns="36000" rtlCol="0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odel description</a:t>
            </a:r>
            <a:endParaRPr lang="zh-CN" altLang="en-US" sz="14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8" name="Foliennummernplatzhalter 4"/>
          <p:cNvSpPr txBox="1"/>
          <p:nvPr/>
        </p:nvSpPr>
        <p:spPr>
          <a:xfrm>
            <a:off x="363897" y="4856577"/>
            <a:ext cx="269750" cy="143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defPPr>
              <a:defRPr lang="en-US"/>
            </a:defPPr>
            <a:lvl1pPr defTabSz="841375">
              <a:spcBef>
                <a:spcPct val="0"/>
              </a:spcBef>
              <a:defRPr sz="700" b="1">
                <a:solidFill>
                  <a:prstClr val="black"/>
                </a:solidFill>
                <a:latin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CC5461-F7F8-834A-A33C-7913089D93E6}" type="slidenum">
              <a:rPr lang="en-US"/>
              <a:t>3</a:t>
            </a:fld>
            <a:endParaRPr lang="en-US" dirty="0"/>
          </a:p>
        </p:txBody>
      </p:sp>
      <p:sp>
        <p:nvSpPr>
          <p:cNvPr id="69" name="Fußzeilenplatzhalter 20"/>
          <p:cNvSpPr txBox="1"/>
          <p:nvPr/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defTabSz="841375" fontAlgn="base">
              <a:spcBef>
                <a:spcPct val="0"/>
              </a:spcBef>
              <a:spcAft>
                <a:spcPct val="0"/>
              </a:spcAft>
              <a:defRPr sz="700">
                <a:solidFill>
                  <a:prstClr val="black"/>
                </a:solidFill>
                <a:latin typeface="Arial" panose="020B0604020202020204"/>
                <a:ea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NF150S-160S Standard | Sunny Xu | Q1 2022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7585" y="1486535"/>
            <a:ext cx="3225800" cy="18764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220" y="1260475"/>
            <a:ext cx="2641600" cy="13081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picture containing truck, concrete mixer&#10;&#10;Description automatically generated"/>
          <p:cNvPicPr>
            <a:picLocks noChangeAspect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>
          <a:xfrm>
            <a:off x="3158851" y="3101226"/>
            <a:ext cx="2483155" cy="1266285"/>
          </a:xfrm>
          <a:prstGeom prst="rect">
            <a:avLst/>
          </a:prstGeom>
        </p:spPr>
      </p:pic>
      <p:grpSp>
        <p:nvGrpSpPr>
          <p:cNvPr id="74" name="组合 73"/>
          <p:cNvGrpSpPr/>
          <p:nvPr/>
        </p:nvGrpSpPr>
        <p:grpSpPr>
          <a:xfrm>
            <a:off x="3350743" y="4203429"/>
            <a:ext cx="3561595" cy="373906"/>
            <a:chOff x="4495495" y="4207216"/>
            <a:chExt cx="3561595" cy="373906"/>
          </a:xfrm>
        </p:grpSpPr>
        <p:sp>
          <p:nvSpPr>
            <p:cNvPr id="75" name="任意多边形 73"/>
            <p:cNvSpPr/>
            <p:nvPr/>
          </p:nvSpPr>
          <p:spPr>
            <a:xfrm>
              <a:off x="4495495" y="4394168"/>
              <a:ext cx="2019605" cy="108753"/>
            </a:xfrm>
            <a:custGeom>
              <a:avLst/>
              <a:gdLst>
                <a:gd name="connsiteX0" fmla="*/ 1962455 w 2019605"/>
                <a:gd name="connsiteY0" fmla="*/ 229712 h 275472"/>
                <a:gd name="connsiteX1" fmla="*/ 1962455 w 2019605"/>
                <a:gd name="connsiteY1" fmla="*/ 229712 h 275472"/>
                <a:gd name="connsiteX2" fmla="*/ 1994205 w 2019605"/>
                <a:gd name="connsiteY2" fmla="*/ 178912 h 275472"/>
                <a:gd name="connsiteX3" fmla="*/ 2013255 w 2019605"/>
                <a:gd name="connsiteY3" fmla="*/ 102712 h 275472"/>
                <a:gd name="connsiteX4" fmla="*/ 2019605 w 2019605"/>
                <a:gd name="connsiteY4" fmla="*/ 83662 h 275472"/>
                <a:gd name="connsiteX5" fmla="*/ 2013255 w 2019605"/>
                <a:gd name="connsiteY5" fmla="*/ 58262 h 275472"/>
                <a:gd name="connsiteX6" fmla="*/ 1994205 w 2019605"/>
                <a:gd name="connsiteY6" fmla="*/ 39212 h 275472"/>
                <a:gd name="connsiteX7" fmla="*/ 1911655 w 2019605"/>
                <a:gd name="connsiteY7" fmla="*/ 20162 h 275472"/>
                <a:gd name="connsiteX8" fmla="*/ 1854505 w 2019605"/>
                <a:gd name="connsiteY8" fmla="*/ 13812 h 275472"/>
                <a:gd name="connsiteX9" fmla="*/ 1829105 w 2019605"/>
                <a:gd name="connsiteY9" fmla="*/ 7462 h 275472"/>
                <a:gd name="connsiteX10" fmla="*/ 1537005 w 2019605"/>
                <a:gd name="connsiteY10" fmla="*/ 7462 h 275472"/>
                <a:gd name="connsiteX11" fmla="*/ 1492555 w 2019605"/>
                <a:gd name="connsiteY11" fmla="*/ 13812 h 275472"/>
                <a:gd name="connsiteX12" fmla="*/ 1441755 w 2019605"/>
                <a:gd name="connsiteY12" fmla="*/ 20162 h 275472"/>
                <a:gd name="connsiteX13" fmla="*/ 1295705 w 2019605"/>
                <a:gd name="connsiteY13" fmla="*/ 39212 h 275472"/>
                <a:gd name="connsiteX14" fmla="*/ 1098855 w 2019605"/>
                <a:gd name="connsiteY14" fmla="*/ 51912 h 275472"/>
                <a:gd name="connsiteX15" fmla="*/ 997255 w 2019605"/>
                <a:gd name="connsiteY15" fmla="*/ 58262 h 275472"/>
                <a:gd name="connsiteX16" fmla="*/ 794055 w 2019605"/>
                <a:gd name="connsiteY16" fmla="*/ 70962 h 275472"/>
                <a:gd name="connsiteX17" fmla="*/ 730555 w 2019605"/>
                <a:gd name="connsiteY17" fmla="*/ 83662 h 275472"/>
                <a:gd name="connsiteX18" fmla="*/ 648005 w 2019605"/>
                <a:gd name="connsiteY18" fmla="*/ 96362 h 275472"/>
                <a:gd name="connsiteX19" fmla="*/ 355905 w 2019605"/>
                <a:gd name="connsiteY19" fmla="*/ 102712 h 275472"/>
                <a:gd name="connsiteX20" fmla="*/ 133655 w 2019605"/>
                <a:gd name="connsiteY20" fmla="*/ 109062 h 275472"/>
                <a:gd name="connsiteX21" fmla="*/ 57455 w 2019605"/>
                <a:gd name="connsiteY21" fmla="*/ 115412 h 275472"/>
                <a:gd name="connsiteX22" fmla="*/ 38405 w 2019605"/>
                <a:gd name="connsiteY22" fmla="*/ 128112 h 275472"/>
                <a:gd name="connsiteX23" fmla="*/ 13005 w 2019605"/>
                <a:gd name="connsiteY23" fmla="*/ 140812 h 275472"/>
                <a:gd name="connsiteX24" fmla="*/ 6655 w 2019605"/>
                <a:gd name="connsiteY24" fmla="*/ 204312 h 275472"/>
                <a:gd name="connsiteX25" fmla="*/ 32055 w 2019605"/>
                <a:gd name="connsiteY25" fmla="*/ 223362 h 275472"/>
                <a:gd name="connsiteX26" fmla="*/ 70155 w 2019605"/>
                <a:gd name="connsiteY26" fmla="*/ 229712 h 275472"/>
                <a:gd name="connsiteX27" fmla="*/ 273355 w 2019605"/>
                <a:gd name="connsiteY27" fmla="*/ 236062 h 275472"/>
                <a:gd name="connsiteX28" fmla="*/ 419405 w 2019605"/>
                <a:gd name="connsiteY28" fmla="*/ 242412 h 275472"/>
                <a:gd name="connsiteX29" fmla="*/ 711505 w 2019605"/>
                <a:gd name="connsiteY29" fmla="*/ 255112 h 275472"/>
                <a:gd name="connsiteX30" fmla="*/ 1079805 w 2019605"/>
                <a:gd name="connsiteY30" fmla="*/ 261462 h 275472"/>
                <a:gd name="connsiteX31" fmla="*/ 1803705 w 2019605"/>
                <a:gd name="connsiteY31" fmla="*/ 261462 h 275472"/>
                <a:gd name="connsiteX32" fmla="*/ 1841805 w 2019605"/>
                <a:gd name="connsiteY32" fmla="*/ 248762 h 275472"/>
                <a:gd name="connsiteX33" fmla="*/ 1879905 w 2019605"/>
                <a:gd name="connsiteY33" fmla="*/ 229712 h 275472"/>
                <a:gd name="connsiteX34" fmla="*/ 1962455 w 2019605"/>
                <a:gd name="connsiteY34" fmla="*/ 229712 h 27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019605" h="275472">
                  <a:moveTo>
                    <a:pt x="1962455" y="229712"/>
                  </a:moveTo>
                  <a:lnTo>
                    <a:pt x="1962455" y="229712"/>
                  </a:lnTo>
                  <a:cubicBezTo>
                    <a:pt x="1973038" y="212779"/>
                    <a:pt x="1985275" y="196772"/>
                    <a:pt x="1994205" y="178912"/>
                  </a:cubicBezTo>
                  <a:cubicBezTo>
                    <a:pt x="2009602" y="148117"/>
                    <a:pt x="2006026" y="135243"/>
                    <a:pt x="2013255" y="102712"/>
                  </a:cubicBezTo>
                  <a:cubicBezTo>
                    <a:pt x="2014707" y="96178"/>
                    <a:pt x="2017488" y="90012"/>
                    <a:pt x="2019605" y="83662"/>
                  </a:cubicBezTo>
                  <a:cubicBezTo>
                    <a:pt x="2017488" y="75195"/>
                    <a:pt x="2017585" y="65839"/>
                    <a:pt x="2013255" y="58262"/>
                  </a:cubicBezTo>
                  <a:cubicBezTo>
                    <a:pt x="2008800" y="50465"/>
                    <a:pt x="2002055" y="43573"/>
                    <a:pt x="1994205" y="39212"/>
                  </a:cubicBezTo>
                  <a:cubicBezTo>
                    <a:pt x="1971040" y="26342"/>
                    <a:pt x="1936785" y="23303"/>
                    <a:pt x="1911655" y="20162"/>
                  </a:cubicBezTo>
                  <a:cubicBezTo>
                    <a:pt x="1892636" y="17785"/>
                    <a:pt x="1873555" y="15929"/>
                    <a:pt x="1854505" y="13812"/>
                  </a:cubicBezTo>
                  <a:cubicBezTo>
                    <a:pt x="1846038" y="11695"/>
                    <a:pt x="1837745" y="8696"/>
                    <a:pt x="1829105" y="7462"/>
                  </a:cubicBezTo>
                  <a:cubicBezTo>
                    <a:pt x="1724754" y="-7445"/>
                    <a:pt x="1661447" y="4005"/>
                    <a:pt x="1537005" y="7462"/>
                  </a:cubicBezTo>
                  <a:lnTo>
                    <a:pt x="1492555" y="13812"/>
                  </a:lnTo>
                  <a:cubicBezTo>
                    <a:pt x="1475640" y="16067"/>
                    <a:pt x="1458622" y="17567"/>
                    <a:pt x="1441755" y="20162"/>
                  </a:cubicBezTo>
                  <a:cubicBezTo>
                    <a:pt x="1354950" y="33517"/>
                    <a:pt x="1482763" y="27144"/>
                    <a:pt x="1295705" y="39212"/>
                  </a:cubicBezTo>
                  <a:lnTo>
                    <a:pt x="1098855" y="51912"/>
                  </a:lnTo>
                  <a:lnTo>
                    <a:pt x="997255" y="58262"/>
                  </a:lnTo>
                  <a:cubicBezTo>
                    <a:pt x="861105" y="77712"/>
                    <a:pt x="1106724" y="44162"/>
                    <a:pt x="794055" y="70962"/>
                  </a:cubicBezTo>
                  <a:cubicBezTo>
                    <a:pt x="772548" y="72805"/>
                    <a:pt x="751722" y="79429"/>
                    <a:pt x="730555" y="83662"/>
                  </a:cubicBezTo>
                  <a:cubicBezTo>
                    <a:pt x="703070" y="89159"/>
                    <a:pt x="676313" y="95314"/>
                    <a:pt x="648005" y="96362"/>
                  </a:cubicBezTo>
                  <a:cubicBezTo>
                    <a:pt x="550682" y="99967"/>
                    <a:pt x="453265" y="100308"/>
                    <a:pt x="355905" y="102712"/>
                  </a:cubicBezTo>
                  <a:lnTo>
                    <a:pt x="133655" y="109062"/>
                  </a:lnTo>
                  <a:cubicBezTo>
                    <a:pt x="108255" y="111179"/>
                    <a:pt x="82448" y="110413"/>
                    <a:pt x="57455" y="115412"/>
                  </a:cubicBezTo>
                  <a:cubicBezTo>
                    <a:pt x="49971" y="116909"/>
                    <a:pt x="45031" y="124326"/>
                    <a:pt x="38405" y="128112"/>
                  </a:cubicBezTo>
                  <a:cubicBezTo>
                    <a:pt x="30186" y="132808"/>
                    <a:pt x="21472" y="136579"/>
                    <a:pt x="13005" y="140812"/>
                  </a:cubicBezTo>
                  <a:cubicBezTo>
                    <a:pt x="6244" y="161095"/>
                    <a:pt x="-8613" y="182937"/>
                    <a:pt x="6655" y="204312"/>
                  </a:cubicBezTo>
                  <a:cubicBezTo>
                    <a:pt x="12806" y="212924"/>
                    <a:pt x="22229" y="219431"/>
                    <a:pt x="32055" y="223362"/>
                  </a:cubicBezTo>
                  <a:cubicBezTo>
                    <a:pt x="44009" y="228144"/>
                    <a:pt x="57298" y="229035"/>
                    <a:pt x="70155" y="229712"/>
                  </a:cubicBezTo>
                  <a:cubicBezTo>
                    <a:pt x="137828" y="233274"/>
                    <a:pt x="205633" y="233599"/>
                    <a:pt x="273355" y="236062"/>
                  </a:cubicBezTo>
                  <a:lnTo>
                    <a:pt x="419405" y="242412"/>
                  </a:lnTo>
                  <a:cubicBezTo>
                    <a:pt x="535493" y="265630"/>
                    <a:pt x="446681" y="249762"/>
                    <a:pt x="711505" y="255112"/>
                  </a:cubicBezTo>
                  <a:lnTo>
                    <a:pt x="1079805" y="261462"/>
                  </a:lnTo>
                  <a:cubicBezTo>
                    <a:pt x="1360598" y="283061"/>
                    <a:pt x="1250347" y="276977"/>
                    <a:pt x="1803705" y="261462"/>
                  </a:cubicBezTo>
                  <a:cubicBezTo>
                    <a:pt x="1817087" y="261087"/>
                    <a:pt x="1830666" y="256188"/>
                    <a:pt x="1841805" y="248762"/>
                  </a:cubicBezTo>
                  <a:cubicBezTo>
                    <a:pt x="1853235" y="241142"/>
                    <a:pt x="1865183" y="230764"/>
                    <a:pt x="1879905" y="229712"/>
                  </a:cubicBezTo>
                  <a:cubicBezTo>
                    <a:pt x="1903129" y="228053"/>
                    <a:pt x="1948697" y="229712"/>
                    <a:pt x="1962455" y="229712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65000"/>
              </a:schemeClr>
            </a:solidFill>
            <a:ln>
              <a:noFill/>
            </a:ln>
          </p:spPr>
          <p:txBody>
            <a:bodyPr wrap="none" lIns="108000" tIns="36000" rIns="36000" bIns="54000" rtlCol="0" anchor="ctr">
              <a:noAutofit/>
            </a:bodyPr>
            <a:lstStyle/>
            <a:p>
              <a:pPr algn="ctr"/>
              <a:endParaRPr lang="zh-CN" altLang="en-US" sz="1400" b="1" dirty="0">
                <a:solidFill>
                  <a:srgbClr val="38363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6" name="Picture 4"/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012160" y="4207216"/>
              <a:ext cx="2044930" cy="3739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8" name="Picture 9"/>
          <p:cNvPicPr>
            <a:picLocks noChangeAspect="1" noChangeArrowheads="1"/>
          </p:cNvPicPr>
          <p:nvPr/>
        </p:nvPicPr>
        <p:blipFill rotWithShape="1">
          <a:blip r:embed="rId5" cstate="screen"/>
          <a:srcRect b="-53"/>
          <a:stretch>
            <a:fillRect/>
          </a:stretch>
        </p:blipFill>
        <p:spPr bwMode="auto">
          <a:xfrm flipH="1">
            <a:off x="3283231" y="1587996"/>
            <a:ext cx="996083" cy="1701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矩形 78"/>
          <p:cNvSpPr/>
          <p:nvPr/>
        </p:nvSpPr>
        <p:spPr>
          <a:xfrm>
            <a:off x="1282258" y="2631977"/>
            <a:ext cx="2824929" cy="293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Lowered Mast Height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3150-4400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m</a:t>
            </a:r>
          </a:p>
        </p:txBody>
      </p:sp>
      <p:sp>
        <p:nvSpPr>
          <p:cNvPr id="39" name="矩形 81"/>
          <p:cNvSpPr/>
          <p:nvPr/>
        </p:nvSpPr>
        <p:spPr>
          <a:xfrm>
            <a:off x="1291103" y="3724542"/>
            <a:ext cx="25643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Lifting or Lowering speed with/without load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lifting: 0.205-0.255m/s</a:t>
            </a:r>
            <a:endParaRPr lang="en-US" altLang="zh-CN" sz="1200" b="1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eaLnBrk="1" hangingPunct="1">
              <a:defRPr/>
            </a:pP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lowering: 0.435-0.285m/s</a:t>
            </a:r>
            <a:endParaRPr lang="en-US" altLang="zh-CN" sz="10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0" name="矩形 82"/>
          <p:cNvSpPr/>
          <p:nvPr/>
        </p:nvSpPr>
        <p:spPr>
          <a:xfrm>
            <a:off x="1286971" y="1345306"/>
            <a:ext cx="2728715" cy="293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ast Lift Height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000-5500mm</a:t>
            </a:r>
          </a:p>
        </p:txBody>
      </p:sp>
      <p:pic>
        <p:nvPicPr>
          <p:cNvPr id="42" name="Picture 7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909398" y="1457855"/>
            <a:ext cx="377826" cy="356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 rotWithShape="1">
          <a:blip r:embed="rId8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13192" y="2708475"/>
            <a:ext cx="377825" cy="345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18873" y="3814321"/>
            <a:ext cx="354013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5" name="直接连接符 89"/>
          <p:cNvCxnSpPr/>
          <p:nvPr/>
        </p:nvCxnSpPr>
        <p:spPr bwMode="auto">
          <a:xfrm flipH="1">
            <a:off x="1098311" y="2057539"/>
            <a:ext cx="2323618" cy="0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直接连接符 90"/>
          <p:cNvCxnSpPr>
            <a:stCxn id="42" idx="2"/>
          </p:cNvCxnSpPr>
          <p:nvPr/>
        </p:nvCxnSpPr>
        <p:spPr bwMode="auto">
          <a:xfrm flipH="1">
            <a:off x="1095880" y="1814113"/>
            <a:ext cx="2431" cy="243426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直接连接符 91"/>
          <p:cNvCxnSpPr/>
          <p:nvPr/>
        </p:nvCxnSpPr>
        <p:spPr bwMode="auto">
          <a:xfrm flipH="1">
            <a:off x="1098311" y="3229878"/>
            <a:ext cx="2956472" cy="0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直接连接符 92"/>
          <p:cNvCxnSpPr>
            <a:stCxn id="43" idx="2"/>
          </p:cNvCxnSpPr>
          <p:nvPr/>
        </p:nvCxnSpPr>
        <p:spPr bwMode="auto">
          <a:xfrm>
            <a:off x="1102105" y="3054078"/>
            <a:ext cx="0" cy="171411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矩形 79"/>
          <p:cNvSpPr/>
          <p:nvPr/>
        </p:nvSpPr>
        <p:spPr>
          <a:xfrm>
            <a:off x="5750340" y="3229296"/>
            <a:ext cx="2181717" cy="469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urning radius</a:t>
            </a:r>
            <a:r>
              <a:rPr lang="zh-CN" altLang="en-US" sz="8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05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4750mm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[ varies depending on model]</a:t>
            </a:r>
          </a:p>
        </p:txBody>
      </p:sp>
      <p:sp>
        <p:nvSpPr>
          <p:cNvPr id="50" name="矩形 80"/>
          <p:cNvSpPr/>
          <p:nvPr/>
        </p:nvSpPr>
        <p:spPr>
          <a:xfrm>
            <a:off x="5284693" y="1936875"/>
            <a:ext cx="2750692" cy="497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ravel speed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23.0~26.0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km/h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[ varies depending on model and load]</a:t>
            </a:r>
          </a:p>
        </p:txBody>
      </p:sp>
      <p:pic>
        <p:nvPicPr>
          <p:cNvPr id="51" name="Picture 6"/>
          <p:cNvPicPr>
            <a:picLocks noChangeAspect="1" noChangeArrowheads="1"/>
          </p:cNvPicPr>
          <p:nvPr/>
        </p:nvPicPr>
        <p:blipFill rotWithShape="1">
          <a:blip r:embed="rId10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-1"/>
          <a:stretch>
            <a:fillRect/>
          </a:stretch>
        </p:blipFill>
        <p:spPr bwMode="auto">
          <a:xfrm>
            <a:off x="5382226" y="3338938"/>
            <a:ext cx="357366" cy="347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10"/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flipH="1">
            <a:off x="4907814" y="2042777"/>
            <a:ext cx="366836" cy="34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Picture 11"/>
          <p:cNvPicPr>
            <a:picLocks noChangeAspect="1" noChangeArrowheads="1"/>
          </p:cNvPicPr>
          <p:nvPr/>
        </p:nvPicPr>
        <p:blipFill rotWithShape="1"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907068" y="1406825"/>
            <a:ext cx="389047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矩形 93"/>
          <p:cNvSpPr/>
          <p:nvPr/>
        </p:nvSpPr>
        <p:spPr>
          <a:xfrm>
            <a:off x="5258749" y="1345672"/>
            <a:ext cx="2542380" cy="497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Load capacity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5-16T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[ varies depending on model and mast]</a:t>
            </a:r>
          </a:p>
        </p:txBody>
      </p:sp>
      <p:sp>
        <p:nvSpPr>
          <p:cNvPr id="55" name="矩形 94"/>
          <p:cNvSpPr/>
          <p:nvPr/>
        </p:nvSpPr>
        <p:spPr>
          <a:xfrm>
            <a:off x="5308380" y="2652827"/>
            <a:ext cx="2623677" cy="293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limbing ability with/without load </a:t>
            </a:r>
            <a:r>
              <a:rPr lang="en-US" altLang="zh-CN" sz="1200" b="1" dirty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0/22%</a:t>
            </a:r>
          </a:p>
        </p:txBody>
      </p:sp>
      <p:grpSp>
        <p:nvGrpSpPr>
          <p:cNvPr id="56" name="组合 13"/>
          <p:cNvGrpSpPr/>
          <p:nvPr/>
        </p:nvGrpSpPr>
        <p:grpSpPr>
          <a:xfrm>
            <a:off x="4912549" y="2622231"/>
            <a:ext cx="357366" cy="357366"/>
            <a:chOff x="98196" y="2572819"/>
            <a:chExt cx="357366" cy="357366"/>
          </a:xfrm>
        </p:grpSpPr>
        <p:sp>
          <p:nvSpPr>
            <p:cNvPr id="57" name="矩形 37"/>
            <p:cNvSpPr/>
            <p:nvPr/>
          </p:nvSpPr>
          <p:spPr>
            <a:xfrm>
              <a:off x="98196" y="2572819"/>
              <a:ext cx="357366" cy="357366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8" name="直接连接符 6"/>
            <p:cNvCxnSpPr/>
            <p:nvPr/>
          </p:nvCxnSpPr>
          <p:spPr>
            <a:xfrm flipH="1" flipV="1">
              <a:off x="152576" y="2693728"/>
              <a:ext cx="178683" cy="17868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连接符 40"/>
            <p:cNvCxnSpPr/>
            <p:nvPr/>
          </p:nvCxnSpPr>
          <p:spPr>
            <a:xfrm flipH="1">
              <a:off x="139049" y="2872411"/>
              <a:ext cx="300051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箭头: 左 12"/>
            <p:cNvSpPr/>
            <p:nvPr/>
          </p:nvSpPr>
          <p:spPr>
            <a:xfrm rot="2661773">
              <a:off x="170050" y="2698095"/>
              <a:ext cx="251476" cy="84122"/>
            </a:xfrm>
            <a:prstGeom prst="leftArrow">
              <a:avLst>
                <a:gd name="adj1" fmla="val 33927"/>
                <a:gd name="adj2" fmla="val 55456"/>
              </a:avLst>
            </a:prstGeom>
            <a:solidFill>
              <a:schemeClr val="bg1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Foliennummernplatzhalter 4"/>
          <p:cNvSpPr txBox="1"/>
          <p:nvPr/>
        </p:nvSpPr>
        <p:spPr>
          <a:xfrm>
            <a:off x="363897" y="4856577"/>
            <a:ext cx="269750" cy="143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defPPr>
              <a:defRPr lang="en-US"/>
            </a:defPPr>
            <a:lvl1pPr defTabSz="841375">
              <a:spcBef>
                <a:spcPct val="0"/>
              </a:spcBef>
              <a:defRPr sz="700" b="1">
                <a:solidFill>
                  <a:prstClr val="black"/>
                </a:solidFill>
                <a:latin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CC5461-F7F8-834A-A33C-7913089D93E6}" type="slidenum">
              <a:rPr lang="en-US"/>
              <a:t>4</a:t>
            </a:fld>
            <a:endParaRPr lang="en-US" dirty="0"/>
          </a:p>
        </p:txBody>
      </p:sp>
      <p:sp>
        <p:nvSpPr>
          <p:cNvPr id="62" name="Fußzeilenplatzhalter 20"/>
          <p:cNvSpPr txBox="1"/>
          <p:nvPr/>
        </p:nvSpPr>
        <p:spPr>
          <a:xfrm>
            <a:off x="720001" y="4858691"/>
            <a:ext cx="806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defTabSz="841375" fontAlgn="base">
              <a:spcBef>
                <a:spcPct val="0"/>
              </a:spcBef>
              <a:spcAft>
                <a:spcPct val="0"/>
              </a:spcAft>
              <a:defRPr lang="de-DE" sz="700" dirty="0">
                <a:solidFill>
                  <a:prstClr val="black"/>
                </a:solidFill>
                <a:latin typeface="Arial" panose="020B0604020202020204"/>
                <a:ea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ym typeface="+mn-ea"/>
              </a:rPr>
              <a:t>HNF150S-160S Standard | Sunny Xu | Q1 2022</a:t>
            </a:r>
            <a:endParaRPr lang="en-US" dirty="0"/>
          </a:p>
        </p:txBody>
      </p:sp>
      <p:sp>
        <p:nvSpPr>
          <p:cNvPr id="38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1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5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>
          <a:xfrm>
            <a:off x="700405" y="4796790"/>
            <a:ext cx="8083550" cy="205740"/>
          </a:xfrm>
        </p:spPr>
        <p:txBody>
          <a:bodyPr/>
          <a:lstStyle/>
          <a:p>
            <a:endParaRPr lang="en-US">
              <a:sym typeface="+mn-ea"/>
            </a:endParaRPr>
          </a:p>
          <a:p>
            <a:r>
              <a:rPr lang="en-US">
                <a:sym typeface="+mn-ea"/>
              </a:rPr>
              <a:t>HNF150S-160S Standard | Sunny Xu | Q1 2022</a:t>
            </a:r>
            <a:endParaRPr lang="en-US" dirty="0"/>
          </a:p>
          <a:p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" name="Content Placeholder 7"/>
          <p:cNvSpPr txBox="1"/>
          <p:nvPr/>
        </p:nvSpPr>
        <p:spPr>
          <a:xfrm>
            <a:off x="363897" y="1628681"/>
            <a:ext cx="4014776" cy="23651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241300" indent="-24130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Font typeface="Arial" panose="020B0604020202020204" pitchFamily="34" charset="0"/>
              <a:buChar char="•"/>
              <a:defRPr lang="en-US" sz="213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615" indent="-23495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lang="en-US" sz="213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6915" indent="-23495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lang="en-US" sz="186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8215" indent="-24130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lang="en-US" sz="186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2530" indent="-23495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lang="en-US" sz="186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3830" indent="-24130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35"/>
              </a:spcAft>
              <a:buClrTx/>
              <a:buFont typeface="Arial" panose="020B0604020202020204" pitchFamily="34" charset="0"/>
              <a:buChar char="−"/>
              <a:defRPr lang="en-US" sz="186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6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82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39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CTION POWERFUL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OVING FAS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PERATION SENSITIV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SING DURABL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6"/>
          <p:cNvSpPr txBox="1"/>
          <p:nvPr/>
        </p:nvSpPr>
        <p:spPr bwMode="gray">
          <a:xfrm>
            <a:off x="373027" y="823461"/>
            <a:ext cx="3817365" cy="71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lvl1pPr algn="l" defTabSz="913765" rtl="0" eaLnBrk="1" latinLnBrk="0" hangingPunct="1">
              <a:lnSpc>
                <a:spcPts val="2665"/>
              </a:lnSpc>
              <a:spcBef>
                <a:spcPct val="0"/>
              </a:spcBef>
              <a:buNone/>
              <a:defRPr lang="en-GB" sz="2130" b="1" kern="1200" cap="none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For efficient and safe handling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S-160S Compact</a:t>
            </a:r>
          </a:p>
        </p:txBody>
      </p:sp>
      <p:pic>
        <p:nvPicPr>
          <p:cNvPr id="2" name="图片占位符 1" descr="Compact SOCMA 15ton forklift  (3)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tretch>
            <a:fillRect/>
          </a:stretch>
        </p:blipFill>
        <p:spPr>
          <a:xfrm>
            <a:off x="3870325" y="671830"/>
            <a:ext cx="5273675" cy="351536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00" y="1659890"/>
            <a:ext cx="4344035" cy="2367915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6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>
          <a:xfrm>
            <a:off x="754926" y="4856786"/>
            <a:ext cx="8064000" cy="144000"/>
          </a:xfrm>
        </p:spPr>
        <p:txBody>
          <a:bodyPr/>
          <a:lstStyle/>
          <a:p>
            <a:endParaRPr lang="en-US">
              <a:sym typeface="+mn-ea"/>
            </a:endParaRPr>
          </a:p>
          <a:p>
            <a:r>
              <a:rPr lang="en-US">
                <a:sym typeface="+mn-ea"/>
              </a:rPr>
              <a:t>HNF150S-160S Standard | Sunny Xu | Q1 2022</a:t>
            </a:r>
            <a:endParaRPr lang="en-US" dirty="0"/>
          </a:p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11140" y="3610748"/>
            <a:ext cx="19776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OPERATES IN TIGHT SITUATIONS</a:t>
            </a:r>
          </a:p>
          <a:p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the steering axle has small turning radius </a:t>
            </a:r>
            <a:r>
              <a:rPr lang="sv-SE" sz="1200" b="0" dirty="0">
                <a:latin typeface="Arial" panose="020B0604020202020204" pitchFamily="34" charset="0"/>
                <a:cs typeface="Arial" panose="020B0604020202020204" pitchFamily="34" charset="0"/>
              </a:rPr>
              <a:t>hanks to 3</a:t>
            </a:r>
            <a:r>
              <a:rPr lang="en-US" altLang="sv-SE" sz="1200" b="0" dirty="0"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sv-SE" sz="1200" b="0" dirty="0">
                <a:latin typeface="Arial" panose="020B0604020202020204" pitchFamily="34" charset="0"/>
                <a:cs typeface="Arial" panose="020B0604020202020204" pitchFamily="34" charset="0"/>
              </a:rPr>
              <a:t>0 mm wheelbase </a:t>
            </a: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0807" y="1125198"/>
            <a:ext cx="28588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EFFORTLESS MAINTENANCE</a:t>
            </a:r>
          </a:p>
          <a:p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tilting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cab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0807" y="3288299"/>
            <a:ext cx="21420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OPERATED AT </a:t>
            </a:r>
            <a:b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LOW COST</a:t>
            </a:r>
          </a:p>
          <a:p>
            <a:r>
              <a:rPr lang="sv-SE" sz="1200" b="0" dirty="0">
                <a:latin typeface="Arial" panose="020B0604020202020204" pitchFamily="34" charset="0"/>
                <a:cs typeface="Arial" panose="020B0604020202020204" pitchFamily="34" charset="0"/>
              </a:rPr>
              <a:t>through low fuel consumption and predictable maintenance</a:t>
            </a: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2413000" y="1402080"/>
            <a:ext cx="1712595" cy="10299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5672833" y="1808166"/>
            <a:ext cx="1186315" cy="7953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5" idx="1"/>
          </p:cNvCxnSpPr>
          <p:nvPr/>
        </p:nvCxnSpPr>
        <p:spPr>
          <a:xfrm flipH="1" flipV="1">
            <a:off x="5490845" y="3493135"/>
            <a:ext cx="1520190" cy="655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1921839" y="3364799"/>
            <a:ext cx="1660301" cy="6143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HNF 150-160 Compac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64833" y="1204480"/>
            <a:ext cx="2979167" cy="6771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REMARKABLE VISIBILITY</a:t>
            </a:r>
          </a:p>
          <a:p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ith </a:t>
            </a:r>
            <a:r>
              <a:rPr lang="en-US" altLang="sv-SE"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ide view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cabin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7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ym typeface="+mn-ea"/>
            </a:endParaRPr>
          </a:p>
          <a:p>
            <a:r>
              <a:rPr lang="en-US">
                <a:sym typeface="+mn-ea"/>
              </a:rPr>
              <a:t>HNF150S-160S Standard | Sunny Xu | Q1 2022</a:t>
            </a:r>
            <a:endParaRPr lang="en-US" dirty="0"/>
          </a:p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363" y="669925"/>
            <a:ext cx="6838950" cy="252413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</a:rPr>
              <a:t>HNF 150S-160S Compact</a:t>
            </a:r>
          </a:p>
        </p:txBody>
      </p:sp>
      <p:sp>
        <p:nvSpPr>
          <p:cNvPr id="11" name="Title 2"/>
          <p:cNvSpPr txBox="1"/>
          <p:nvPr/>
        </p:nvSpPr>
        <p:spPr bwMode="gray">
          <a:xfrm>
            <a:off x="360000" y="1059618"/>
            <a:ext cx="4900324" cy="25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ad capacity</a:t>
            </a:r>
          </a:p>
        </p:txBody>
      </p:sp>
      <p:pic>
        <p:nvPicPr>
          <p:cNvPr id="4" name="Picture 3" descr="A picture containing graphical user interface&#10;&#10;Description automatically generated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7" t="7105" r="5738" b="21453"/>
          <a:stretch>
            <a:fillRect/>
          </a:stretch>
        </p:blipFill>
        <p:spPr>
          <a:xfrm>
            <a:off x="361505" y="1356478"/>
            <a:ext cx="4515295" cy="3331354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>
          <a:xfrm>
            <a:off x="363897" y="4856577"/>
            <a:ext cx="269750" cy="143867"/>
          </a:xfrm>
        </p:spPr>
        <p:txBody>
          <a:bodyPr/>
          <a:lstStyle/>
          <a:p>
            <a:fld id="{99CC5461-F7F8-834A-A33C-7913089D93E6}" type="slidenum">
              <a:rPr lang="en-US">
                <a:solidFill>
                  <a:prstClr val="black"/>
                </a:solidFill>
                <a:latin typeface="Arial" panose="020B0604020202020204"/>
              </a:rPr>
              <a:t>8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HNF150S-160S Standard | Sunny Xu | Q1 202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60000" y="414489"/>
            <a:ext cx="6840000" cy="252000"/>
          </a:xfrm>
        </p:spPr>
        <p:txBody>
          <a:bodyPr/>
          <a:lstStyle/>
          <a:p>
            <a:r>
              <a:rPr lang="en-US" altLang="zh-CN" sz="14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zh-CN" altLang="en-US" sz="1400" dirty="0">
              <a:solidFill>
                <a:schemeClr val="accent4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4"/>
          </p:nvPr>
        </p:nvSpPr>
        <p:spPr>
          <a:xfrm>
            <a:off x="360363" y="669925"/>
            <a:ext cx="6838950" cy="252413"/>
          </a:xfrm>
        </p:spPr>
        <p:txBody>
          <a:bodyPr/>
          <a:lstStyle/>
          <a:p>
            <a:r>
              <a:rPr lang="en-US" altLang="zh-CN" dirty="0">
                <a:latin typeface="Arial" panose="020B0604020202020204" pitchFamily="34" charset="0"/>
              </a:rPr>
              <a:t> HNF 150S-160S Compact</a:t>
            </a:r>
          </a:p>
        </p:txBody>
      </p:sp>
      <p:sp>
        <p:nvSpPr>
          <p:cNvPr id="11" name="Title 2"/>
          <p:cNvSpPr txBox="1"/>
          <p:nvPr/>
        </p:nvSpPr>
        <p:spPr bwMode="gray">
          <a:xfrm>
            <a:off x="360000" y="1059618"/>
            <a:ext cx="4900324" cy="25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/>
          <a:lstStyle>
            <a:defPPr>
              <a:defRPr lang="en-US"/>
            </a:defPPr>
            <a:lvl1pPr defTabSz="913765">
              <a:lnSpc>
                <a:spcPts val="2665"/>
              </a:lnSpc>
              <a:spcBef>
                <a:spcPct val="0"/>
              </a:spcBef>
              <a:buNone/>
              <a:defRPr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Sheet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FAEE748-608F-704C-6AD6-4F1B3A022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890972"/>
              </p:ext>
            </p:extLst>
          </p:nvPr>
        </p:nvGraphicFramePr>
        <p:xfrm>
          <a:off x="1743076" y="1149700"/>
          <a:ext cx="5657850" cy="34431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97247">
                  <a:extLst>
                    <a:ext uri="{9D8B030D-6E8A-4147-A177-3AD203B41FA5}">
                      <a16:colId xmlns:a16="http://schemas.microsoft.com/office/drawing/2014/main" val="589492815"/>
                    </a:ext>
                  </a:extLst>
                </a:gridCol>
                <a:gridCol w="651533">
                  <a:extLst>
                    <a:ext uri="{9D8B030D-6E8A-4147-A177-3AD203B41FA5}">
                      <a16:colId xmlns:a16="http://schemas.microsoft.com/office/drawing/2014/main" val="2038402885"/>
                    </a:ext>
                  </a:extLst>
                </a:gridCol>
                <a:gridCol w="1607382">
                  <a:extLst>
                    <a:ext uri="{9D8B030D-6E8A-4147-A177-3AD203B41FA5}">
                      <a16:colId xmlns:a16="http://schemas.microsoft.com/office/drawing/2014/main" val="1928578295"/>
                    </a:ext>
                  </a:extLst>
                </a:gridCol>
                <a:gridCol w="501688">
                  <a:extLst>
                    <a:ext uri="{9D8B030D-6E8A-4147-A177-3AD203B41FA5}">
                      <a16:colId xmlns:a16="http://schemas.microsoft.com/office/drawing/2014/main" val="3746771528"/>
                    </a:ext>
                  </a:extLst>
                </a:gridCol>
              </a:tblGrid>
              <a:tr h="2711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SOCMA 16-тонный компактный дизельный вилочный погрузчик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572841"/>
                  </a:ext>
                </a:extLst>
              </a:tr>
              <a:tr h="14711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одель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-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HNF</a:t>
                      </a:r>
                      <a:r>
                        <a:rPr lang="ru-RU" sz="900" kern="0">
                          <a:effectLst/>
                        </a:rPr>
                        <a:t>16</a:t>
                      </a:r>
                      <a:r>
                        <a:rPr lang="en-US" sz="900" kern="0">
                          <a:effectLst/>
                        </a:rPr>
                        <a:t>0S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55788022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Тип силовой установки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-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Дизель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06845561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Грузоподъемность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кг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1</a:t>
                      </a:r>
                      <a:r>
                        <a:rPr lang="en-US" sz="900" kern="0">
                          <a:effectLst/>
                        </a:rPr>
                        <a:t>6</a:t>
                      </a:r>
                      <a:r>
                        <a:rPr lang="ru-RU" sz="900" kern="0">
                          <a:effectLst/>
                        </a:rPr>
                        <a:t>0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20962175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Центр груз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6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9779900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Тип привод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-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2</a:t>
                      </a:r>
                      <a:r>
                        <a:rPr lang="en-US" sz="900" kern="0">
                          <a:effectLst/>
                        </a:rPr>
                        <a:t>WD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2592672"/>
                  </a:ext>
                </a:extLst>
              </a:tr>
              <a:tr h="131174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Размеры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1650829"/>
                  </a:ext>
                </a:extLst>
              </a:tr>
              <a:tr h="13117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Высота подъем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30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47800395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Размеры вил (Д*Ш*В)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12</a:t>
                      </a:r>
                      <a:r>
                        <a:rPr lang="en-US" sz="900" kern="0">
                          <a:effectLst/>
                        </a:rPr>
                        <a:t>00</a:t>
                      </a:r>
                      <a:r>
                        <a:rPr lang="ru-RU" sz="900" kern="0">
                          <a:effectLst/>
                        </a:rPr>
                        <a:t>*1</a:t>
                      </a:r>
                      <a:r>
                        <a:rPr lang="en-US" sz="900" kern="0">
                          <a:effectLst/>
                        </a:rPr>
                        <a:t>80</a:t>
                      </a:r>
                      <a:r>
                        <a:rPr lang="ru-RU" sz="900" kern="0">
                          <a:effectLst/>
                        </a:rPr>
                        <a:t>*</a:t>
                      </a:r>
                      <a:r>
                        <a:rPr lang="en-US" sz="900" kern="0">
                          <a:effectLst/>
                        </a:rPr>
                        <a:t>9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53948150"/>
                  </a:ext>
                </a:extLst>
              </a:tr>
              <a:tr h="41164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Угол наклона мачты (вперед/назад)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Градусы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6/12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 dirty="0">
                          <a:effectLst/>
                        </a:rPr>
                        <a:t> </a:t>
                      </a:r>
                      <a:endParaRPr lang="ru-RU" sz="900" kern="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98853816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Ширина каретки вил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22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86294770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Общая длина (без вил)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51</a:t>
                      </a:r>
                      <a:r>
                        <a:rPr lang="ru-RU" sz="900" kern="0">
                          <a:effectLst/>
                        </a:rPr>
                        <a:t>55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6688878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Общая ширин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2</a:t>
                      </a:r>
                      <a:r>
                        <a:rPr lang="en-US" sz="900" kern="0">
                          <a:effectLst/>
                        </a:rPr>
                        <a:t>4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46775887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Высота мачты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314</a:t>
                      </a:r>
                      <a:r>
                        <a:rPr lang="ru-RU" sz="900" kern="0">
                          <a:effectLst/>
                        </a:rPr>
                        <a:t>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9129532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Высота козырька крыши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304</a:t>
                      </a:r>
                      <a:r>
                        <a:rPr lang="ru-RU" sz="900" kern="0">
                          <a:effectLst/>
                        </a:rPr>
                        <a:t>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9274445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Клиренс (рамы)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2</a:t>
                      </a:r>
                      <a:r>
                        <a:rPr lang="en-US" sz="900" kern="0">
                          <a:effectLst/>
                        </a:rPr>
                        <a:t>25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9401931"/>
                  </a:ext>
                </a:extLst>
              </a:tr>
              <a:tr h="2712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инимальный радиус поворот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475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20993957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Колесная база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33</a:t>
                      </a:r>
                      <a:r>
                        <a:rPr lang="ru-RU" sz="900" kern="0">
                          <a:effectLst/>
                        </a:rPr>
                        <a:t>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11551867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Колея передних колес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174</a:t>
                      </a:r>
                      <a:r>
                        <a:rPr lang="ru-RU" sz="900" kern="0">
                          <a:effectLst/>
                        </a:rPr>
                        <a:t>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98277742"/>
                  </a:ext>
                </a:extLst>
              </a:tr>
              <a:tr h="15349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Колея задних колес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900" kern="0">
                          <a:effectLst/>
                        </a:rPr>
                        <a:t>2013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>
                          <a:effectLst/>
                        </a:rPr>
                        <a:t> 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86307525"/>
                  </a:ext>
                </a:extLst>
              </a:tr>
              <a:tr h="13090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0" dirty="0">
                          <a:effectLst/>
                        </a:rPr>
                        <a:t>Собственный вес</a:t>
                      </a:r>
                      <a:endParaRPr lang="ru-RU" sz="900" kern="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мм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900" kern="0">
                          <a:effectLst/>
                        </a:rPr>
                        <a:t>1</a:t>
                      </a:r>
                      <a:r>
                        <a:rPr lang="en-US" sz="900" kern="0">
                          <a:effectLst/>
                        </a:rPr>
                        <a:t>9800</a:t>
                      </a:r>
                      <a:endParaRPr lang="ru-RU" sz="9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9190" marR="4919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900" kern="50" dirty="0">
                          <a:effectLst/>
                        </a:rPr>
                        <a:t> </a:t>
                      </a:r>
                      <a:endParaRPr lang="ru-RU" sz="900" kern="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8811467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BA2759-CF96-EA92-0DCE-E1080E7DB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OCMA compact 15-16ton forklift series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A61B55-02D9-598F-22FF-3448BA06E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</a:rPr>
              <a:t> HNF 150S-160S Compact</a:t>
            </a:r>
          </a:p>
          <a:p>
            <a:endParaRPr lang="ru-RU" dirty="0"/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D7BDD7EA-8C0B-AEBF-C670-F112EBBE463C}"/>
              </a:ext>
            </a:extLst>
          </p:cNvPr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974608021"/>
              </p:ext>
            </p:extLst>
          </p:nvPr>
        </p:nvGraphicFramePr>
        <p:xfrm>
          <a:off x="1321594" y="1205294"/>
          <a:ext cx="5943600" cy="3387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43571">
                  <a:extLst>
                    <a:ext uri="{9D8B030D-6E8A-4147-A177-3AD203B41FA5}">
                      <a16:colId xmlns:a16="http://schemas.microsoft.com/office/drawing/2014/main" val="41115546"/>
                    </a:ext>
                  </a:extLst>
                </a:gridCol>
                <a:gridCol w="684439">
                  <a:extLst>
                    <a:ext uri="{9D8B030D-6E8A-4147-A177-3AD203B41FA5}">
                      <a16:colId xmlns:a16="http://schemas.microsoft.com/office/drawing/2014/main" val="1318808087"/>
                    </a:ext>
                  </a:extLst>
                </a:gridCol>
                <a:gridCol w="1688562">
                  <a:extLst>
                    <a:ext uri="{9D8B030D-6E8A-4147-A177-3AD203B41FA5}">
                      <a16:colId xmlns:a16="http://schemas.microsoft.com/office/drawing/2014/main" val="3568307109"/>
                    </a:ext>
                  </a:extLst>
                </a:gridCol>
                <a:gridCol w="527028">
                  <a:extLst>
                    <a:ext uri="{9D8B030D-6E8A-4147-A177-3AD203B41FA5}">
                      <a16:colId xmlns:a16="http://schemas.microsoft.com/office/drawing/2014/main" val="2026410016"/>
                    </a:ext>
                  </a:extLst>
                </a:gridCol>
              </a:tblGrid>
              <a:tr h="121561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Рабочие характеристики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9725257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Максимальная скорость (с грузом/без груза)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км/ч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2</a:t>
                      </a:r>
                      <a:r>
                        <a:rPr lang="en-US" sz="800" kern="0">
                          <a:effectLst/>
                        </a:rPr>
                        <a:t>3</a:t>
                      </a:r>
                      <a:r>
                        <a:rPr lang="ru-RU" sz="800" kern="0">
                          <a:effectLst/>
                        </a:rPr>
                        <a:t>/</a:t>
                      </a:r>
                      <a:r>
                        <a:rPr lang="en-US" sz="800" kern="0">
                          <a:effectLst/>
                        </a:rPr>
                        <a:t>26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0280341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Скорость подъема вил (с грузом/без груза)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мм/с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800" kern="0">
                          <a:effectLst/>
                        </a:rPr>
                        <a:t>205</a:t>
                      </a:r>
                      <a:r>
                        <a:rPr lang="ru-RU" sz="800" kern="0">
                          <a:effectLst/>
                        </a:rPr>
                        <a:t>/</a:t>
                      </a:r>
                      <a:r>
                        <a:rPr lang="en-US" sz="800" kern="0">
                          <a:effectLst/>
                        </a:rPr>
                        <a:t>255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53548402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Скорость опускания вил (с грузом/без груза)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мм/с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4</a:t>
                      </a:r>
                      <a:r>
                        <a:rPr lang="en-US" sz="800" kern="0">
                          <a:effectLst/>
                        </a:rPr>
                        <a:t>35</a:t>
                      </a:r>
                      <a:r>
                        <a:rPr lang="ru-RU" sz="800" kern="0">
                          <a:effectLst/>
                        </a:rPr>
                        <a:t>/</a:t>
                      </a:r>
                      <a:r>
                        <a:rPr lang="en-US" sz="800" kern="0">
                          <a:effectLst/>
                        </a:rPr>
                        <a:t>285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0542802"/>
                  </a:ext>
                </a:extLst>
              </a:tr>
              <a:tr h="38227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Способность преодолевать подъем (с грузом/без груза)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Градусы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800" kern="0">
                          <a:effectLst/>
                        </a:rPr>
                        <a:t>20/</a:t>
                      </a:r>
                      <a:r>
                        <a:rPr lang="ru-RU" sz="800" kern="0">
                          <a:effectLst/>
                        </a:rPr>
                        <a:t>22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34849800"/>
                  </a:ext>
                </a:extLst>
              </a:tr>
              <a:tr h="121561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Шины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878637"/>
                  </a:ext>
                </a:extLst>
              </a:tr>
              <a:tr h="12156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Передние шины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-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800" kern="0">
                          <a:effectLst/>
                        </a:rPr>
                        <a:t>12</a:t>
                      </a:r>
                      <a:r>
                        <a:rPr lang="ru-RU" sz="800" kern="0">
                          <a:effectLst/>
                        </a:rPr>
                        <a:t>.00-20-1</a:t>
                      </a:r>
                      <a:r>
                        <a:rPr lang="en-US" sz="800" kern="0">
                          <a:effectLst/>
                        </a:rPr>
                        <a:t>8PR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329303"/>
                  </a:ext>
                </a:extLst>
              </a:tr>
              <a:tr h="12156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Задние шины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-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800" kern="0">
                          <a:effectLst/>
                        </a:rPr>
                        <a:t>11</a:t>
                      </a:r>
                      <a:r>
                        <a:rPr lang="ru-RU" sz="800" kern="0">
                          <a:effectLst/>
                        </a:rPr>
                        <a:t>.00-20-1</a:t>
                      </a:r>
                      <a:r>
                        <a:rPr lang="en-US" sz="800" kern="0">
                          <a:effectLst/>
                        </a:rPr>
                        <a:t>8PR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06948778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Тип шин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-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Пневматические шины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6788102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Количество шин (перед/зад)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шт.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4/2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0358701"/>
                  </a:ext>
                </a:extLst>
              </a:tr>
              <a:tr h="121561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Двигатель и трансмиссия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5313017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АКБ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В/А/ч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2х12/90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04131763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Производитель двигателя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800" kern="0">
                          <a:effectLst/>
                        </a:rPr>
                        <a:t>Dongfeng Cummins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10622982"/>
                  </a:ext>
                </a:extLst>
              </a:tr>
              <a:tr h="25192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Модель двигателя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kern="50">
                          <a:effectLst/>
                        </a:rPr>
                        <a:t>National III QSB4.5-C130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>
                          <a:effectLst/>
                        </a:rPr>
                        <a:t> 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49725897"/>
                  </a:ext>
                </a:extLst>
              </a:tr>
              <a:tr h="38227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Номинальная мощность двигателя 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кВт/об.мин.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kern="0">
                          <a:effectLst/>
                        </a:rPr>
                        <a:t>97/2200</a:t>
                      </a:r>
                      <a:endParaRPr lang="ru-RU" sz="800" kern="5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681" marR="4568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kern="50" dirty="0">
                          <a:effectLst/>
                        </a:rPr>
                        <a:t> </a:t>
                      </a:r>
                      <a:endParaRPr lang="ru-RU" sz="800" kern="5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61800560"/>
                  </a:ext>
                </a:extLst>
              </a:tr>
            </a:tbl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9CF10E-1C6F-CDD5-41FC-16514C4F42E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0640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KSO_WPP_MARK_KEY" val="ce6905d8-af6d-492e-b4d3-06b65d8cd2e2"/>
  <p:tag name="COMMONDATA" val="eyJoZGlkIjoiNGU5YTk2NWU3OTRhNTU0YjZlNWE0ODExMjY4YzM0MTg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8107,&quot;width&quot;:12160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ION_PPT_Master_LindeMH_16-9_EN">
  <a:themeElements>
    <a:clrScheme name="Linde_Master_16:9">
      <a:dk1>
        <a:srgbClr val="292929"/>
      </a:dk1>
      <a:lt1>
        <a:srgbClr val="FFFFFF"/>
      </a:lt1>
      <a:dk2>
        <a:srgbClr val="A00020"/>
      </a:dk2>
      <a:lt2>
        <a:srgbClr val="E9E9E9"/>
      </a:lt2>
      <a:accent1>
        <a:srgbClr val="292929"/>
      </a:accent1>
      <a:accent2>
        <a:srgbClr val="B9B9B9"/>
      </a:accent2>
      <a:accent3>
        <a:srgbClr val="5A5A5A"/>
      </a:accent3>
      <a:accent4>
        <a:srgbClr val="00558C"/>
      </a:accent4>
      <a:accent5>
        <a:srgbClr val="1EA0C4"/>
      </a:accent5>
      <a:accent6>
        <a:srgbClr val="77B342"/>
      </a:accent6>
      <a:hlink>
        <a:srgbClr val="121B27"/>
      </a:hlink>
      <a:folHlink>
        <a:srgbClr val="121B27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571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336</Words>
  <Application>Microsoft Office PowerPoint</Application>
  <PresentationFormat>Произвольный</PresentationFormat>
  <Paragraphs>357</Paragraphs>
  <Slides>2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Microsoft YaHei</vt:lpstr>
      <vt:lpstr>Arial</vt:lpstr>
      <vt:lpstr>Calibri</vt:lpstr>
      <vt:lpstr>Franklin Gothic Book</vt:lpstr>
      <vt:lpstr>Franklin Gothic Medium</vt:lpstr>
      <vt:lpstr>Times New Roman</vt:lpstr>
      <vt:lpstr>Verdana</vt:lpstr>
      <vt:lpstr>Wingdings</vt:lpstr>
      <vt:lpstr>1_KION_PPT_Master_LindeMH_16-9_EN</vt:lpstr>
      <vt:lpstr>think-cell Folie</vt:lpstr>
      <vt:lpstr>think-cell Slide</vt:lpstr>
      <vt:lpstr>  HNF 150S-160S Compact  Efficiency @ Value</vt:lpstr>
      <vt:lpstr> 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SOCMA compact 15-16ton forklift series</vt:lpstr>
      <vt:lpstr>Презентация PowerPoint</vt:lpstr>
    </vt:vector>
  </TitlesOfParts>
  <Company>KIO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Line 1.5-1.8t ECB for China  Results of Voc Survey</dc:title>
  <dc:creator>Ji Rongbin</dc:creator>
  <cp:lastModifiedBy>Павленко Владимир Валентинович</cp:lastModifiedBy>
  <cp:revision>1244</cp:revision>
  <dcterms:created xsi:type="dcterms:W3CDTF">2018-09-06T06:28:00Z</dcterms:created>
  <dcterms:modified xsi:type="dcterms:W3CDTF">2023-02-13T08:2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0DF1DEE12F704C955C6F9EC8A875F9</vt:lpwstr>
  </property>
  <property fmtid="{D5CDD505-2E9C-101B-9397-08002B2CF9AE}" pid="3" name="ICV">
    <vt:lpwstr>2E983D110D0B40068F6D2E1ECBAED592</vt:lpwstr>
  </property>
  <property fmtid="{D5CDD505-2E9C-101B-9397-08002B2CF9AE}" pid="4" name="KSOProductBuildVer">
    <vt:lpwstr>2052-11.1.0.12598</vt:lpwstr>
  </property>
</Properties>
</file>